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25"/>
  </p:notesMasterIdLst>
  <p:sldIdLst>
    <p:sldId id="402" r:id="rId5"/>
    <p:sldId id="445" r:id="rId6"/>
    <p:sldId id="424" r:id="rId7"/>
    <p:sldId id="431" r:id="rId8"/>
    <p:sldId id="435" r:id="rId9"/>
    <p:sldId id="441" r:id="rId10"/>
    <p:sldId id="443" r:id="rId11"/>
    <p:sldId id="444" r:id="rId12"/>
    <p:sldId id="452" r:id="rId13"/>
    <p:sldId id="453" r:id="rId14"/>
    <p:sldId id="447" r:id="rId15"/>
    <p:sldId id="432" r:id="rId16"/>
    <p:sldId id="433" r:id="rId17"/>
    <p:sldId id="436" r:id="rId18"/>
    <p:sldId id="446" r:id="rId19"/>
    <p:sldId id="448" r:id="rId20"/>
    <p:sldId id="449" r:id="rId21"/>
    <p:sldId id="450" r:id="rId22"/>
    <p:sldId id="451" r:id="rId23"/>
    <p:sldId id="434" r:id="rId24"/>
  </p:sldIdLst>
  <p:sldSz cx="12192000" cy="6858000"/>
  <p:notesSz cx="6794500" cy="9906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69" userDrawn="1">
          <p15:clr>
            <a:srgbClr val="A4A3A4"/>
          </p15:clr>
        </p15:guide>
        <p15:guide id="2" orient="horz" pos="890" userDrawn="1">
          <p15:clr>
            <a:srgbClr val="A4A3A4"/>
          </p15:clr>
        </p15:guide>
        <p15:guide id="3" orient="horz" pos="3702" userDrawn="1">
          <p15:clr>
            <a:srgbClr val="A4A3A4"/>
          </p15:clr>
        </p15:guide>
        <p15:guide id="4" orient="horz" pos="3884" userDrawn="1">
          <p15:clr>
            <a:srgbClr val="A4A3A4"/>
          </p15:clr>
        </p15:guide>
        <p15:guide id="5" pos="51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etish Narayana" initials="YN" lastIdx="2" clrIdx="0">
    <p:extLst>
      <p:ext uri="{19B8F6BF-5375-455C-9EA6-DF929625EA0E}">
        <p15:presenceInfo xmlns:p15="http://schemas.microsoft.com/office/powerpoint/2012/main" userId="S::Yetish.Narayana@atyeti.com::7d2b66d4-f49d-4ccc-be18-497fd58b19c9" providerId="AD"/>
      </p:ext>
    </p:extLst>
  </p:cmAuthor>
  <p:cmAuthor id="2" name="Murtaza Abdeali" initials="MA" lastIdx="1" clrIdx="1">
    <p:extLst>
      <p:ext uri="{19B8F6BF-5375-455C-9EA6-DF929625EA0E}">
        <p15:presenceInfo xmlns:p15="http://schemas.microsoft.com/office/powerpoint/2012/main" userId="S::murtaza.abdeali@atyeti.com::51b00f07-ae8c-47de-8907-e69d1e88b5c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8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0EE931-12BC-F140-B0AF-B1F860B430D5}" v="255" dt="2021-07-16T12:53:05.4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24"/>
    <p:restoredTop sz="92936"/>
  </p:normalViewPr>
  <p:slideViewPr>
    <p:cSldViewPr snapToGrid="0">
      <p:cViewPr varScale="1">
        <p:scale>
          <a:sx n="132" d="100"/>
          <a:sy n="132" d="100"/>
        </p:scale>
        <p:origin x="1568" y="176"/>
      </p:cViewPr>
      <p:guideLst>
        <p:guide orient="horz" pos="2069"/>
        <p:guide orient="horz" pos="890"/>
        <p:guide orient="horz" pos="3702"/>
        <p:guide orient="horz" pos="3884"/>
        <p:guide pos="5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ey O'Shea" userId="cbd660b8-bf4f-4302-986c-e830f23178d8" providerId="ADAL" clId="{A50EE931-12BC-F140-B0AF-B1F860B430D5}"/>
    <pc:docChg chg="custSel modSld">
      <pc:chgData name="Casey O'Shea" userId="cbd660b8-bf4f-4302-986c-e830f23178d8" providerId="ADAL" clId="{A50EE931-12BC-F140-B0AF-B1F860B430D5}" dt="2021-07-16T14:10:56.272" v="5" actId="1076"/>
      <pc:docMkLst>
        <pc:docMk/>
      </pc:docMkLst>
      <pc:sldChg chg="addSp delSp modSp mod">
        <pc:chgData name="Casey O'Shea" userId="cbd660b8-bf4f-4302-986c-e830f23178d8" providerId="ADAL" clId="{A50EE931-12BC-F140-B0AF-B1F860B430D5}" dt="2021-07-16T14:10:56.272" v="5" actId="1076"/>
        <pc:sldMkLst>
          <pc:docMk/>
          <pc:sldMk cId="877086771" sldId="441"/>
        </pc:sldMkLst>
        <pc:spChg chg="add del mod">
          <ac:chgData name="Casey O'Shea" userId="cbd660b8-bf4f-4302-986c-e830f23178d8" providerId="ADAL" clId="{A50EE931-12BC-F140-B0AF-B1F860B430D5}" dt="2021-07-16T14:10:48.160" v="2" actId="478"/>
          <ac:spMkLst>
            <pc:docMk/>
            <pc:sldMk cId="877086771" sldId="441"/>
            <ac:spMk id="6" creationId="{9F795A24-CA32-9E41-A471-1D380CF2033A}"/>
          </ac:spMkLst>
        </pc:spChg>
        <pc:spChg chg="mod">
          <ac:chgData name="Casey O'Shea" userId="cbd660b8-bf4f-4302-986c-e830f23178d8" providerId="ADAL" clId="{A50EE931-12BC-F140-B0AF-B1F860B430D5}" dt="2021-07-16T14:10:56.272" v="5" actId="1076"/>
          <ac:spMkLst>
            <pc:docMk/>
            <pc:sldMk cId="877086771" sldId="441"/>
            <ac:spMk id="10" creationId="{17126E27-E2B6-4C42-B867-117B7589E658}"/>
          </ac:spMkLst>
        </pc:spChg>
        <pc:picChg chg="mod">
          <ac:chgData name="Casey O'Shea" userId="cbd660b8-bf4f-4302-986c-e830f23178d8" providerId="ADAL" clId="{A50EE931-12BC-F140-B0AF-B1F860B430D5}" dt="2021-07-16T14:10:53.707" v="4" actId="1076"/>
          <ac:picMkLst>
            <pc:docMk/>
            <pc:sldMk cId="877086771" sldId="441"/>
            <ac:picMk id="14" creationId="{615A4CED-B1A9-C94B-BA8F-48C9783B83FE}"/>
          </ac:picMkLst>
        </pc:picChg>
        <pc:picChg chg="del">
          <ac:chgData name="Casey O'Shea" userId="cbd660b8-bf4f-4302-986c-e830f23178d8" providerId="ADAL" clId="{A50EE931-12BC-F140-B0AF-B1F860B430D5}" dt="2021-07-16T14:10:44.487" v="1" actId="478"/>
          <ac:picMkLst>
            <pc:docMk/>
            <pc:sldMk cId="877086771" sldId="441"/>
            <ac:picMk id="31" creationId="{DEB91227-FAFE-0945-8FE7-3F8740C85BE2}"/>
          </ac:picMkLst>
        </pc:picChg>
        <pc:picChg chg="del">
          <ac:chgData name="Casey O'Shea" userId="cbd660b8-bf4f-4302-986c-e830f23178d8" providerId="ADAL" clId="{A50EE931-12BC-F140-B0AF-B1F860B430D5}" dt="2021-07-16T14:10:43.631" v="0" actId="478"/>
          <ac:picMkLst>
            <pc:docMk/>
            <pc:sldMk cId="877086771" sldId="441"/>
            <ac:picMk id="33" creationId="{CDEDA0E3-0345-E34B-A8FA-A75BDCFE75CC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EB3B3E-31F1-6D4C-9775-437451395B87}" type="datetimeFigureOut">
              <a:rPr lang="en-US" smtClean="0"/>
              <a:t>7/16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3"/>
            <a:ext cx="5435600" cy="39004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100" y="94091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C204FC-F81E-C34E-8921-E1F745DB8D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0101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C204FC-F81E-C34E-8921-E1F745DB8DC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75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C204FC-F81E-C34E-8921-E1F745DB8DC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288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1178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Title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1980000"/>
            <a:ext cx="12192000" cy="2998800"/>
          </a:xfrm>
          <a:custGeom>
            <a:avLst/>
            <a:gdLst/>
            <a:ahLst/>
            <a:cxnLst/>
            <a:rect l="l" t="t" r="r" b="b"/>
            <a:pathLst>
              <a:path w="9144000" h="2998800">
                <a:moveTo>
                  <a:pt x="950400" y="0"/>
                </a:moveTo>
                <a:lnTo>
                  <a:pt x="9144000" y="0"/>
                </a:lnTo>
                <a:lnTo>
                  <a:pt x="9144000" y="2394000"/>
                </a:lnTo>
                <a:lnTo>
                  <a:pt x="6109200" y="2394000"/>
                </a:lnTo>
                <a:lnTo>
                  <a:pt x="6109200" y="2998800"/>
                </a:lnTo>
                <a:lnTo>
                  <a:pt x="0" y="2998800"/>
                </a:lnTo>
                <a:lnTo>
                  <a:pt x="0" y="936000"/>
                </a:lnTo>
                <a:lnTo>
                  <a:pt x="950400" y="936000"/>
                </a:lnTo>
                <a:close/>
              </a:path>
            </a:pathLst>
          </a:custGeom>
        </p:spPr>
        <p:txBody>
          <a:bodyPr anchor="b"/>
          <a:lstStyle>
            <a:lvl1pPr marL="322263" indent="0">
              <a:buNone/>
              <a:defRPr sz="1200" baseline="0"/>
            </a:lvl1pPr>
          </a:lstStyle>
          <a:p>
            <a:r>
              <a:rPr lang="en-US"/>
              <a:t>Click to add image</a:t>
            </a:r>
            <a:br>
              <a:rPr lang="en-US"/>
            </a:br>
            <a:r>
              <a:rPr lang="en-US"/>
              <a:t>(Rectangular images fit best, do not stretch image to fit)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1270000" y="295199"/>
            <a:ext cx="10485200" cy="923761"/>
          </a:xfrm>
        </p:spPr>
        <p:txBody>
          <a:bodyPr anchor="b" anchorCtr="0">
            <a:noAutofit/>
          </a:bodyPr>
          <a:lstStyle>
            <a:lvl1pPr marL="0" indent="0">
              <a:lnSpc>
                <a:spcPct val="82000"/>
              </a:lnSpc>
              <a:defRPr sz="40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redit Suisse Headline font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Logo_large" descr="AQAAAAAQAM8tiZQyq7JBnY6i2xxAS/7fWQy5iyK2VCY1hCtIJSGjtDh8ZijZKtG9+OfBy0FQZ7sfQErsriyUmMHQRFeyzuiV8qGwl7+p+wuAt4ubg6oz8GtBNuYpwzeSdGQXSnDEhO9AZien7u/3YvThAP6UbX6rnOTkZs2gD9OoCS5mgr2r7t/n4Wx72DGAd0QfWj4r2Wx+ASvxzfngly8tBCKkH9ZrAvs5tW+DLgyYhMw7EiBT4zN7339uDfAD/O5zAXd5ot2n1eEHVGRYsDrcFTma03/HkdGTu0X+OPr2ODFnRlLFbfjtv/59qJKelBTUV5b86AsFwzN1XVbWEKu/9rB9Y93lTYlDUByGuyTdyKP2pQAyxmuz7L8tNa8HK33VLZvmkjrFZf9zm5I88aO2aSgXYTEQ9NHyiP5Pnro80pKI51qM50B/WVTNmJTp/noDixfie9kZ7Hu4541T9F38EuiYgos0/8Hu6/TNh40YOGcAD+I1MAHiMvApERPdmPBsCSubMcYwmiPqMkq5BCTw42bN0UU=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5899" y="5869447"/>
            <a:ext cx="2726400" cy="483678"/>
          </a:xfrm>
          <a:prstGeom prst="rect">
            <a:avLst/>
          </a:prstGeom>
        </p:spPr>
      </p:pic>
      <p:sp>
        <p:nvSpPr>
          <p:cNvPr id="8" name="Date"/>
          <p:cNvSpPr>
            <a:spLocks noGrp="1"/>
          </p:cNvSpPr>
          <p:nvPr>
            <p:ph type="dt" sz="half" idx="2"/>
          </p:nvPr>
        </p:nvSpPr>
        <p:spPr>
          <a:xfrm>
            <a:off x="1262400" y="5824800"/>
            <a:ext cx="384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5FAAECF4-A741-F844-B4F0-D872C248E720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3A9EEA64-EC57-684A-8175-537B755B95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2400" y="1218961"/>
            <a:ext cx="10485200" cy="761039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577403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9083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B19677-B0DA-6E4F-A551-80222A75ABD3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192000" y="1411201"/>
            <a:ext cx="5544000" cy="4752975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27200" y="1411201"/>
            <a:ext cx="5524867" cy="4752975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/>
          <a:p>
            <a:r>
              <a:rPr lang="en-US"/>
              <a:t>Two Text Columns without Pictur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26A745F5-0CA9-D648-A203-2090A2F2CF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40589041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9825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6DC080F-A8B6-6846-A8E1-76BB73B31F91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5" hasCustomPrompt="1"/>
          </p:nvPr>
        </p:nvSpPr>
        <p:spPr>
          <a:xfrm>
            <a:off x="6191251" y="1412875"/>
            <a:ext cx="6000749" cy="19152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191251" y="3628800"/>
            <a:ext cx="5568000" cy="2538000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27200" y="1411201"/>
            <a:ext cx="5524867" cy="4752975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000"/>
          </a:xfrm>
        </p:spPr>
        <p:txBody>
          <a:bodyPr anchor="b"/>
          <a:lstStyle/>
          <a:p>
            <a:r>
              <a:rPr lang="en-US"/>
              <a:t>Two Text Columns with Pictur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E3AE9066-26FC-584A-85D0-73CD09658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528276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9333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B94C669-E88A-BB40-AA8B-158E5FA5AEC7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59750" y="1412875"/>
            <a:ext cx="3595449" cy="47529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271434" y="1412875"/>
            <a:ext cx="3649133" cy="47529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27200" y="1412875"/>
            <a:ext cx="3600451" cy="47529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/>
          <a:p>
            <a:r>
              <a:rPr lang="en-US"/>
              <a:t>Three Text Columns withou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29A28D-2D15-D546-8939-6979E140EA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881778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12112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B4081D1-3427-0D48-B014-525ADDC46EFA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1"/>
          <p:cNvSpPr>
            <a:spLocks noGrp="1"/>
          </p:cNvSpPr>
          <p:nvPr>
            <p:ph type="pic" sz="quarter" idx="16" hasCustomPrompt="1"/>
          </p:nvPr>
        </p:nvSpPr>
        <p:spPr>
          <a:xfrm>
            <a:off x="4271434" y="3657600"/>
            <a:ext cx="7920567" cy="25056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59750" y="1412875"/>
            <a:ext cx="3600249" cy="1980000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271434" y="1412875"/>
            <a:ext cx="3649133" cy="1980000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27200" y="1412875"/>
            <a:ext cx="3600451" cy="4752975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/>
          <a:p>
            <a:r>
              <a:rPr lang="en-US"/>
              <a:t>Three Text Columns with Pictur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504F11ED-B938-214A-AC48-1D6E52B3D1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9111974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2864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13CE4FA-2F98-FF42-B675-F5B4E88ADDCC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067200" y="2386800"/>
            <a:ext cx="9124800" cy="35244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ection Divider</a:t>
            </a:r>
            <a:br>
              <a:rPr lang="en-US"/>
            </a:br>
            <a:r>
              <a:rPr lang="en-US"/>
              <a:t>(Subtitle Text Credit Suisse Gray 4)</a:t>
            </a:r>
          </a:p>
        </p:txBody>
      </p:sp>
    </p:spTree>
    <p:extLst>
      <p:ext uri="{BB962C8B-B14F-4D97-AF65-F5344CB8AC3E}">
        <p14:creationId xmlns:p14="http://schemas.microsoft.com/office/powerpoint/2010/main" val="35454317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16927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B548CC4-53DE-2F4F-AE75-F1100E2E5C15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Infographic Background"/>
          <p:cNvSpPr/>
          <p:nvPr userDrawn="1"/>
        </p:nvSpPr>
        <p:spPr>
          <a:xfrm>
            <a:off x="4271434" y="1411201"/>
            <a:ext cx="7930167" cy="2916225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36005" tIns="36005" rIns="36005" bIns="360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40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271434" y="4629600"/>
            <a:ext cx="7488567" cy="1533600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27200" y="1411201"/>
            <a:ext cx="3600451" cy="4752975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8624"/>
          </a:xfrm>
        </p:spPr>
        <p:txBody>
          <a:bodyPr anchor="b"/>
          <a:lstStyle/>
          <a:p>
            <a:r>
              <a:rPr lang="en-US"/>
              <a:t>Two Text Columns with Infographic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AE2F368-E103-444C-B5E4-42288A1969E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39049222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1511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6D90DD9-8F12-394C-99FA-1D2623700692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Graph Source 1"/>
          <p:cNvSpPr>
            <a:spLocks noGrp="1"/>
          </p:cNvSpPr>
          <p:nvPr>
            <p:ph type="body" sz="quarter" idx="17" hasCustomPrompt="1"/>
          </p:nvPr>
        </p:nvSpPr>
        <p:spPr>
          <a:xfrm>
            <a:off x="6191251" y="5792400"/>
            <a:ext cx="5568949" cy="373450"/>
          </a:xfrm>
        </p:spPr>
        <p:txBody>
          <a:bodyPr anchor="b"/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Source/Note</a:t>
            </a:r>
          </a:p>
        </p:txBody>
      </p:sp>
      <p:sp>
        <p:nvSpPr>
          <p:cNvPr id="9" name="Graph Placeholder 1"/>
          <p:cNvSpPr>
            <a:spLocks noGrp="1"/>
          </p:cNvSpPr>
          <p:nvPr>
            <p:ph type="chart" sz="quarter" idx="14"/>
          </p:nvPr>
        </p:nvSpPr>
        <p:spPr>
          <a:xfrm>
            <a:off x="6191251" y="2041200"/>
            <a:ext cx="5568949" cy="37512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3" name="Graph Description 1"/>
          <p:cNvSpPr>
            <a:spLocks noGrp="1"/>
          </p:cNvSpPr>
          <p:nvPr>
            <p:ph type="body" sz="quarter" idx="16" hasCustomPrompt="1"/>
          </p:nvPr>
        </p:nvSpPr>
        <p:spPr>
          <a:xfrm>
            <a:off x="6191251" y="1598400"/>
            <a:ext cx="5568949" cy="4428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hart description</a:t>
            </a:r>
          </a:p>
        </p:txBody>
      </p:sp>
      <p:sp>
        <p:nvSpPr>
          <p:cNvPr id="11" name="Graph Title 1"/>
          <p:cNvSpPr>
            <a:spLocks noGrp="1"/>
          </p:cNvSpPr>
          <p:nvPr>
            <p:ph type="body" sz="quarter" idx="15" hasCustomPrompt="1"/>
          </p:nvPr>
        </p:nvSpPr>
        <p:spPr>
          <a:xfrm>
            <a:off x="6191251" y="1411200"/>
            <a:ext cx="5568949" cy="183600"/>
          </a:xfrm>
        </p:spPr>
        <p:txBody>
          <a:bodyPr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27200" y="1411201"/>
            <a:ext cx="5524867" cy="4752975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73450"/>
          </a:xfrm>
        </p:spPr>
        <p:txBody>
          <a:bodyPr anchor="b"/>
          <a:lstStyle/>
          <a:p>
            <a:r>
              <a:rPr lang="en-US"/>
              <a:t>Chart with One Text Column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F5AAD59C-EBDD-D844-8FBF-E1B853576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33497436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8469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E72F98F-AC76-AD46-9F84-409D5641C408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Graph Source 1"/>
          <p:cNvSpPr>
            <a:spLocks noGrp="1"/>
          </p:cNvSpPr>
          <p:nvPr>
            <p:ph type="body" sz="quarter" idx="16" hasCustomPrompt="1"/>
          </p:nvPr>
        </p:nvSpPr>
        <p:spPr>
          <a:xfrm>
            <a:off x="427200" y="5788800"/>
            <a:ext cx="11328400" cy="378000"/>
          </a:xfrm>
        </p:spPr>
        <p:txBody>
          <a:bodyPr anchor="b"/>
          <a:lstStyle>
            <a:lvl1pPr marL="0" indent="0">
              <a:buNone/>
              <a:defRPr sz="800" b="0"/>
            </a:lvl1pPr>
          </a:lstStyle>
          <a:p>
            <a:pPr lvl="0"/>
            <a:r>
              <a:rPr lang="en-US"/>
              <a:t>Source/Note</a:t>
            </a:r>
          </a:p>
        </p:txBody>
      </p:sp>
      <p:sp>
        <p:nvSpPr>
          <p:cNvPr id="10" name="Graph Placeholder 1"/>
          <p:cNvSpPr>
            <a:spLocks noGrp="1"/>
          </p:cNvSpPr>
          <p:nvPr>
            <p:ph type="chart" sz="quarter" idx="15"/>
          </p:nvPr>
        </p:nvSpPr>
        <p:spPr>
          <a:xfrm>
            <a:off x="427200" y="2041200"/>
            <a:ext cx="11328400" cy="37440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Graph Description 1"/>
          <p:cNvSpPr>
            <a:spLocks noGrp="1"/>
          </p:cNvSpPr>
          <p:nvPr>
            <p:ph type="body" sz="quarter" idx="14" hasCustomPrompt="1"/>
          </p:nvPr>
        </p:nvSpPr>
        <p:spPr>
          <a:xfrm>
            <a:off x="427200" y="1598400"/>
            <a:ext cx="11328400" cy="442800"/>
          </a:xfrm>
        </p:spPr>
        <p:txBody>
          <a:bodyPr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/>
              <a:t>Chart description</a:t>
            </a:r>
          </a:p>
        </p:txBody>
      </p:sp>
      <p:sp>
        <p:nvSpPr>
          <p:cNvPr id="7" name="Graph Title 1"/>
          <p:cNvSpPr>
            <a:spLocks noGrp="1"/>
          </p:cNvSpPr>
          <p:nvPr>
            <p:ph type="body" sz="quarter" idx="13" hasCustomPrompt="1"/>
          </p:nvPr>
        </p:nvSpPr>
        <p:spPr>
          <a:xfrm>
            <a:off x="427200" y="1412875"/>
            <a:ext cx="11328400" cy="183600"/>
          </a:xfrm>
        </p:spPr>
        <p:txBody>
          <a:bodyPr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/>
              <a:t>Chart Title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3350"/>
          </a:xfrm>
        </p:spPr>
        <p:txBody>
          <a:bodyPr anchor="b"/>
          <a:lstStyle/>
          <a:p>
            <a:r>
              <a:rPr lang="en-US"/>
              <a:t>Chart Only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E9CCFF7-92AC-9043-A8D8-CF37B6007E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5160715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843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A8931C0-02C4-A24A-AD7A-BF863196E1B1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Infographic Background"/>
          <p:cNvSpPr/>
          <p:nvPr userDrawn="1"/>
        </p:nvSpPr>
        <p:spPr>
          <a:xfrm>
            <a:off x="431800" y="1412875"/>
            <a:ext cx="11760000" cy="4752975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36005" tIns="36005" rIns="36005" bIns="360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/>
          <a:p>
            <a:r>
              <a:rPr lang="en-US"/>
              <a:t>Infographic Only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5AFD3EE-B162-064E-8E43-627B495CC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40778272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1410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43B3972-B278-4F40-B631-91C7C19C328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rint Screen Background"/>
          <p:cNvSpPr/>
          <p:nvPr userDrawn="1"/>
        </p:nvSpPr>
        <p:spPr>
          <a:xfrm>
            <a:off x="431800" y="1412875"/>
            <a:ext cx="11760200" cy="4752975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36005" tIns="36005" rIns="36005" bIns="360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40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268978" y="1530000"/>
            <a:ext cx="7488767" cy="37584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Insert print screen from fi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412875"/>
            <a:ext cx="3600451" cy="4752975"/>
          </a:xfrm>
        </p:spPr>
        <p:txBody>
          <a:bodyPr lIns="108000" tIns="108000" bIns="108000"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/>
          <a:p>
            <a:r>
              <a:rPr lang="en-US"/>
              <a:t>Print Screen with Description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F8813034-37E8-AD43-88A3-8F1574090B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1591971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084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9BDB2AD-1C5D-BE45-BB0C-1165F42078ED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7200" y="1412875"/>
            <a:ext cx="11328400" cy="4752975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en-US"/>
              <a:t>One Text Column without Picture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CE7EB0-3579-064C-B80A-9D2D027E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8660990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9357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>
            <a:spLocks noGrp="1"/>
          </p:cNvSpPr>
          <p:nvPr>
            <p:ph type="sldNum" sz="quarter" idx="4"/>
          </p:nvPr>
        </p:nvSpPr>
        <p:spPr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sz="half" idx="2"/>
          </p:nvPr>
        </p:nvSpPr>
        <p:spPr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FD795396-FEF2-C247-A40E-14A44F1E7152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"/>
          <p:cNvSpPr>
            <a:spLocks noGrp="1"/>
          </p:cNvSpPr>
          <p:nvPr>
            <p:ph type="ftr" sz="quarter" idx="3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Contact 2"/>
          <p:cNvSpPr>
            <a:spLocks noGrp="1"/>
          </p:cNvSpPr>
          <p:nvPr>
            <p:ph type="body" sz="quarter" idx="11" hasCustomPrompt="1"/>
          </p:nvPr>
        </p:nvSpPr>
        <p:spPr>
          <a:xfrm>
            <a:off x="8159750" y="4586400"/>
            <a:ext cx="3600249" cy="12924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Author</a:t>
            </a:r>
            <a:br>
              <a:rPr lang="en-US"/>
            </a:br>
            <a:r>
              <a:rPr lang="en-US"/>
              <a:t>CREDIT SUISSE LEGAL ENTITY</a:t>
            </a:r>
            <a:br>
              <a:rPr lang="en-US"/>
            </a:br>
            <a:r>
              <a:rPr lang="en-US"/>
              <a:t>Department, Code</a:t>
            </a:r>
            <a:br>
              <a:rPr lang="en-US"/>
            </a:br>
            <a:r>
              <a:rPr lang="en-US"/>
              <a:t>Street 00 | 0000 Town | Country </a:t>
            </a:r>
            <a:br>
              <a:rPr lang="en-US"/>
            </a:br>
            <a:r>
              <a:rPr lang="en-US"/>
              <a:t>Phone +00 00 000 00 00</a:t>
            </a:r>
            <a:br>
              <a:rPr lang="en-US"/>
            </a:br>
            <a:r>
              <a:rPr lang="en-US"/>
              <a:t>lorem.ipsum@credit-suisse.com         credit-suisse.com</a:t>
            </a:r>
          </a:p>
        </p:txBody>
      </p:sp>
      <p:sp>
        <p:nvSpPr>
          <p:cNvPr id="7" name="Text Placeholder Contact 1"/>
          <p:cNvSpPr>
            <a:spLocks noGrp="1"/>
          </p:cNvSpPr>
          <p:nvPr>
            <p:ph type="body" sz="quarter" idx="10" hasCustomPrompt="1"/>
          </p:nvPr>
        </p:nvSpPr>
        <p:spPr>
          <a:xfrm>
            <a:off x="4271434" y="4586400"/>
            <a:ext cx="3649133" cy="12924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Author</a:t>
            </a:r>
            <a:br>
              <a:rPr lang="en-US"/>
            </a:br>
            <a:r>
              <a:rPr lang="en-US"/>
              <a:t>CREDIT SUISSE LEGAL ENTITY</a:t>
            </a:r>
            <a:br>
              <a:rPr lang="en-US"/>
            </a:br>
            <a:r>
              <a:rPr lang="en-US"/>
              <a:t>Department, Code</a:t>
            </a:r>
            <a:br>
              <a:rPr lang="en-US"/>
            </a:br>
            <a:r>
              <a:rPr lang="en-US"/>
              <a:t>Street 00 | 0000 Town | Country </a:t>
            </a:r>
            <a:br>
              <a:rPr lang="en-US"/>
            </a:br>
            <a:r>
              <a:rPr lang="en-US"/>
              <a:t>Phone +00 00 000 00 00</a:t>
            </a:r>
            <a:br>
              <a:rPr lang="en-US"/>
            </a:br>
            <a:r>
              <a:rPr lang="en-US"/>
              <a:t>lorem.ipsum@credit-suisse.com         credit-suisse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70722"/>
          </a:xfrm>
        </p:spPr>
        <p:txBody>
          <a:bodyPr anchor="b"/>
          <a:lstStyle/>
          <a:p>
            <a:r>
              <a:rPr lang="en-US"/>
              <a:t>Contact Slid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6E2506C9-5CC2-7840-B6BB-242924BC61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33265595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>
            <a:spLocks noGrp="1"/>
          </p:cNvSpPr>
          <p:nvPr>
            <p:ph type="sldNum" sz="quarter" idx="4"/>
          </p:nvPr>
        </p:nvSpPr>
        <p:spPr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Date"/>
          <p:cNvSpPr>
            <a:spLocks noGrp="1"/>
          </p:cNvSpPr>
          <p:nvPr>
            <p:ph type="dt" sz="half" idx="2"/>
          </p:nvPr>
        </p:nvSpPr>
        <p:spPr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53656EE-5A49-8F48-8D58-2B6B2D91D87A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7200" y="1412875"/>
            <a:ext cx="11328400" cy="4752975"/>
          </a:xfrm>
        </p:spPr>
        <p:txBody>
          <a:bodyPr/>
          <a:lstStyle>
            <a:lvl1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anose="05000000000000000000" pitchFamily="2" charset="2"/>
              <a:buNone/>
              <a:tabLst/>
              <a:defRPr sz="1000"/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8881441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6798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9BDB2AD-1C5D-BE45-BB0C-1165F42078ED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en-US"/>
              <a:t>Header &amp; Footer Only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CE7EB0-3579-064C-B80A-9D2D027E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376824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4925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9BDB2AD-1C5D-BE45-BB0C-1165F42078ED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en-US"/>
              <a:t>Three Point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CE7EB0-3579-064C-B80A-9D2D027E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038" y="680427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BA0263-B9A3-084A-BFED-D6D3532505E8}"/>
              </a:ext>
            </a:extLst>
          </p:cNvPr>
          <p:cNvSpPr/>
          <p:nvPr userDrawn="1"/>
        </p:nvSpPr>
        <p:spPr>
          <a:xfrm>
            <a:off x="427200" y="1414800"/>
            <a:ext cx="11328000" cy="36108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27495EA-BA8B-164A-A744-34390E310CB5}"/>
              </a:ext>
            </a:extLst>
          </p:cNvPr>
          <p:cNvSpPr/>
          <p:nvPr userDrawn="1"/>
        </p:nvSpPr>
        <p:spPr>
          <a:xfrm>
            <a:off x="427200" y="5130000"/>
            <a:ext cx="11328000" cy="909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E1CB4C9-4AFE-3A49-BCA1-8E2A733B3C1A}"/>
              </a:ext>
            </a:extLst>
          </p:cNvPr>
          <p:cNvSpPr/>
          <p:nvPr userDrawn="1"/>
        </p:nvSpPr>
        <p:spPr>
          <a:xfrm>
            <a:off x="498183" y="2415600"/>
            <a:ext cx="5472000" cy="248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01BF3A3-0614-F948-A62F-B5FD95983E85}"/>
              </a:ext>
            </a:extLst>
          </p:cNvPr>
          <p:cNvSpPr/>
          <p:nvPr userDrawn="1"/>
        </p:nvSpPr>
        <p:spPr>
          <a:xfrm>
            <a:off x="6230035" y="2415600"/>
            <a:ext cx="5472000" cy="248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19" name="New picture">
            <a:extLst>
              <a:ext uri="{FF2B5EF4-FFF2-40B4-BE49-F238E27FC236}">
                <a16:creationId xmlns:a16="http://schemas.microsoft.com/office/drawing/2014/main" id="{DD52B60F-7ED8-6845-A27E-3D7C741B5177}"/>
              </a:ext>
            </a:extLst>
          </p:cNvPr>
          <p:cNvPicPr/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4400" y="5292000"/>
            <a:ext cx="768000" cy="57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New picture">
            <a:extLst>
              <a:ext uri="{FF2B5EF4-FFF2-40B4-BE49-F238E27FC236}">
                <a16:creationId xmlns:a16="http://schemas.microsoft.com/office/drawing/2014/main" id="{A38700C2-F536-594D-BB6F-98DDE108C97F}"/>
              </a:ext>
            </a:extLst>
          </p:cNvPr>
          <p:cNvPicPr/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145600" y="3347194"/>
            <a:ext cx="7900800" cy="1565945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DA1C534-6A95-E046-9F2C-A37812034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683" y="1497397"/>
            <a:ext cx="10863517" cy="839058"/>
          </a:xfrm>
        </p:spPr>
        <p:txBody>
          <a:bodyPr anchor="ctr"/>
          <a:lstStyle>
            <a:lvl1pPr marL="0" indent="0">
              <a:buNone/>
              <a:defRPr lang="en-US" sz="1400" kern="1200" dirty="0" bmk="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102AECD8-A25A-3A4D-99D9-AE459337A1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684" y="2498142"/>
            <a:ext cx="5103073" cy="16961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D8B00D30-D830-574F-AAEC-9609E6D7C1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12127" y="2498142"/>
            <a:ext cx="5103073" cy="16961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43E48771-016E-D54B-8456-A3B35BAB94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68800" y="5220313"/>
            <a:ext cx="9508800" cy="764554"/>
          </a:xfrm>
        </p:spPr>
        <p:txBody>
          <a:bodyPr anchor="ctr"/>
          <a:lstStyle>
            <a:lvl1pPr marL="0" indent="0">
              <a:buNone/>
              <a:defRPr lang="en-US" sz="1800" kern="1200" dirty="0" smtClean="0" bmk="">
                <a:solidFill>
                  <a:schemeClr val="tx1"/>
                </a:solidFill>
                <a:latin typeface="Credit Suisse Type Ligh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3765100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8401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9BDB2AD-1C5D-BE45-BB0C-1165F42078ED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en-US"/>
              <a:t>Three Points (option #2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CE7EB0-3579-064C-B80A-9D2D027E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27495EA-BA8B-164A-A744-34390E310CB5}"/>
              </a:ext>
            </a:extLst>
          </p:cNvPr>
          <p:cNvSpPr/>
          <p:nvPr userDrawn="1"/>
        </p:nvSpPr>
        <p:spPr>
          <a:xfrm>
            <a:off x="427200" y="5130000"/>
            <a:ext cx="11328000" cy="909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19" name="New picture">
            <a:extLst>
              <a:ext uri="{FF2B5EF4-FFF2-40B4-BE49-F238E27FC236}">
                <a16:creationId xmlns:a16="http://schemas.microsoft.com/office/drawing/2014/main" id="{DD52B60F-7ED8-6845-A27E-3D7C741B5177}"/>
              </a:ext>
            </a:extLst>
          </p:cNvPr>
          <p:cNvPicPr/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4400" y="5292000"/>
            <a:ext cx="768000" cy="576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102AECD8-A25A-3A4D-99D9-AE459337A1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039" y="1540236"/>
            <a:ext cx="4851190" cy="457530"/>
          </a:xfrm>
        </p:spPr>
        <p:txBody>
          <a:bodyPr anchor="b"/>
          <a:lstStyle>
            <a:lvl1pPr marL="0" marR="0" indent="0" algn="l" defTabSz="914400" rtl="0" eaLnBrk="1" latinLnBrk="0" hangingPunct="1">
              <a:buNone/>
              <a:defRPr lang="en-US" sz="2000" kern="1200" dirty="0" bmk="">
                <a:solidFill>
                  <a:srgbClr val="000000"/>
                </a:solidFill>
                <a:latin typeface="Credit Suisse Type Ligh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43E48771-016E-D54B-8456-A3B35BAB94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68800" y="5220313"/>
            <a:ext cx="9508800" cy="764554"/>
          </a:xfrm>
        </p:spPr>
        <p:txBody>
          <a:bodyPr anchor="ctr"/>
          <a:lstStyle>
            <a:lvl1pPr marL="0" indent="0">
              <a:buNone/>
              <a:defRPr lang="en-US" sz="1800" kern="1200" dirty="0" smtClean="0" bmk="">
                <a:solidFill>
                  <a:schemeClr val="tx1"/>
                </a:solidFill>
                <a:latin typeface="Credit Suisse Type Ligh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628D63F-4645-2942-B477-38E085D46AE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97556" y="1539875"/>
            <a:ext cx="656533" cy="4572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DF83737-AFD4-A64D-A50C-FDA08AA5E5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7037" y="2020521"/>
            <a:ext cx="5546379" cy="3011488"/>
          </a:xfrm>
          <a:solidFill>
            <a:schemeClr val="bg2">
              <a:lumMod val="90000"/>
            </a:schemeClr>
          </a:solidFill>
        </p:spPr>
        <p:txBody>
          <a:bodyPr lIns="182880" tIns="91440" rIns="182880" bIns="9144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4D5A5668-C5AD-C14E-93C5-CB10AB4710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8823" y="1540236"/>
            <a:ext cx="4851190" cy="457530"/>
          </a:xfrm>
        </p:spPr>
        <p:txBody>
          <a:bodyPr anchor="b"/>
          <a:lstStyle>
            <a:lvl1pPr marL="0" marR="0" indent="0" algn="l" defTabSz="914400" rtl="0" eaLnBrk="1" latinLnBrk="0" hangingPunct="1">
              <a:buNone/>
              <a:defRPr lang="en-US" sz="2000" kern="1200" dirty="0" bmk="">
                <a:solidFill>
                  <a:srgbClr val="000000"/>
                </a:solidFill>
                <a:latin typeface="Credit Suisse Type Ligh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F68B8DA2-40ED-7443-883D-CCC6A327CC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1079340" y="1539875"/>
            <a:ext cx="656533" cy="4572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E886FB7-744D-744D-A342-9E3DD3250C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08821" y="2020521"/>
            <a:ext cx="5546379" cy="3011488"/>
          </a:xfrm>
          <a:solidFill>
            <a:schemeClr val="bg2">
              <a:lumMod val="90000"/>
            </a:schemeClr>
          </a:solidFill>
        </p:spPr>
        <p:txBody>
          <a:bodyPr lIns="182880" tIns="91440" rIns="182880" bIns="9144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C4EF939-6543-8745-87B3-BBA09DCF1945}"/>
              </a:ext>
            </a:extLst>
          </p:cNvPr>
          <p:cNvCxnSpPr>
            <a:cxnSpLocks/>
          </p:cNvCxnSpPr>
          <p:nvPr userDrawn="1"/>
        </p:nvCxnSpPr>
        <p:spPr>
          <a:xfrm>
            <a:off x="427038" y="2008798"/>
            <a:ext cx="554637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0113009-1685-0C4C-84FD-FD23B2C0EBE6}"/>
              </a:ext>
            </a:extLst>
          </p:cNvPr>
          <p:cNvCxnSpPr>
            <a:cxnSpLocks/>
          </p:cNvCxnSpPr>
          <p:nvPr userDrawn="1"/>
        </p:nvCxnSpPr>
        <p:spPr>
          <a:xfrm>
            <a:off x="6208822" y="2008798"/>
            <a:ext cx="554637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416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353154D-94D5-C34D-AE4F-D5FE01FF8BB6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Media Placeholder 1"/>
          <p:cNvSpPr>
            <a:spLocks noGrp="1"/>
          </p:cNvSpPr>
          <p:nvPr>
            <p:ph type="media" sz="quarter" idx="13" hasCustomPrompt="1"/>
          </p:nvPr>
        </p:nvSpPr>
        <p:spPr>
          <a:xfrm>
            <a:off x="427200" y="1412875"/>
            <a:ext cx="11328400" cy="4752975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media cli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950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en-US"/>
              <a:t>Media Clip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8D87CB6-C837-2341-8B70-91591432BD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3220613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2152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E603141-34F6-7743-A209-BCCAA52B6349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6" name="Agenda Text 10"/>
          <p:cNvSpPr>
            <a:spLocks noGrp="1"/>
          </p:cNvSpPr>
          <p:nvPr>
            <p:ph type="body" sz="quarter" idx="32" hasCustomPrompt="1"/>
          </p:nvPr>
        </p:nvSpPr>
        <p:spPr>
          <a:xfrm>
            <a:off x="7017600" y="4690800"/>
            <a:ext cx="47424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Agenda Number 10"/>
          <p:cNvSpPr>
            <a:spLocks noGrp="1"/>
          </p:cNvSpPr>
          <p:nvPr>
            <p:ph type="body" sz="quarter" idx="31" hasCustomPrompt="1"/>
          </p:nvPr>
        </p:nvSpPr>
        <p:spPr>
          <a:xfrm>
            <a:off x="6192000" y="46908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Agenda Text 9"/>
          <p:cNvSpPr>
            <a:spLocks noGrp="1"/>
          </p:cNvSpPr>
          <p:nvPr>
            <p:ph type="body" sz="quarter" idx="28" hasCustomPrompt="1"/>
          </p:nvPr>
        </p:nvSpPr>
        <p:spPr>
          <a:xfrm>
            <a:off x="7017600" y="3870000"/>
            <a:ext cx="47424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Agenda Number 9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00" y="38700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Agenda Text 8"/>
          <p:cNvSpPr>
            <a:spLocks noGrp="1"/>
          </p:cNvSpPr>
          <p:nvPr>
            <p:ph type="body" sz="quarter" idx="24" hasCustomPrompt="1"/>
          </p:nvPr>
        </p:nvSpPr>
        <p:spPr>
          <a:xfrm>
            <a:off x="7017600" y="3052800"/>
            <a:ext cx="47424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" name="Agenda Numb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192000" y="30492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4" name="Agenda Text 7"/>
          <p:cNvSpPr>
            <a:spLocks noGrp="1"/>
          </p:cNvSpPr>
          <p:nvPr>
            <p:ph type="body" sz="quarter" idx="20" hasCustomPrompt="1"/>
          </p:nvPr>
        </p:nvSpPr>
        <p:spPr>
          <a:xfrm>
            <a:off x="7017600" y="2232000"/>
            <a:ext cx="4742400" cy="446400"/>
          </a:xfrm>
        </p:spPr>
        <p:txBody>
          <a:bodyPr tIns="0"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Agenda Numb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92000" y="22320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0" name="Agenda Text 6"/>
          <p:cNvSpPr>
            <a:spLocks noGrp="1"/>
          </p:cNvSpPr>
          <p:nvPr>
            <p:ph type="body" sz="quarter" idx="16" hasCustomPrompt="1"/>
          </p:nvPr>
        </p:nvSpPr>
        <p:spPr>
          <a:xfrm>
            <a:off x="7017600" y="1411200"/>
            <a:ext cx="47424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Agenda Numb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192000" y="14112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4" name="Agenda Text 5"/>
          <p:cNvSpPr>
            <a:spLocks noGrp="1"/>
          </p:cNvSpPr>
          <p:nvPr>
            <p:ph type="body" sz="quarter" idx="30" hasCustomPrompt="1"/>
          </p:nvPr>
        </p:nvSpPr>
        <p:spPr>
          <a:xfrm>
            <a:off x="1276800" y="46908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Agenda Numb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27200" y="46908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0" name="Agenda Text 4"/>
          <p:cNvSpPr>
            <a:spLocks noGrp="1"/>
          </p:cNvSpPr>
          <p:nvPr>
            <p:ph type="body" sz="quarter" idx="26" hasCustomPrompt="1"/>
          </p:nvPr>
        </p:nvSpPr>
        <p:spPr>
          <a:xfrm>
            <a:off x="1276800" y="38700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Agenda Number 4"/>
          <p:cNvSpPr>
            <a:spLocks noGrp="1"/>
          </p:cNvSpPr>
          <p:nvPr>
            <p:ph type="body" sz="quarter" idx="25" hasCustomPrompt="1"/>
          </p:nvPr>
        </p:nvSpPr>
        <p:spPr>
          <a:xfrm>
            <a:off x="427200" y="38700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" name="Agenda Text 3"/>
          <p:cNvSpPr>
            <a:spLocks noGrp="1"/>
          </p:cNvSpPr>
          <p:nvPr>
            <p:ph type="body" sz="quarter" idx="22" hasCustomPrompt="1"/>
          </p:nvPr>
        </p:nvSpPr>
        <p:spPr>
          <a:xfrm>
            <a:off x="1276800" y="30528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5" name="Agenda Numb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7200" y="30492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2" name="Agenda Text 2"/>
          <p:cNvSpPr>
            <a:spLocks noGrp="1"/>
          </p:cNvSpPr>
          <p:nvPr>
            <p:ph type="body" sz="quarter" idx="18" hasCustomPrompt="1"/>
          </p:nvPr>
        </p:nvSpPr>
        <p:spPr>
          <a:xfrm>
            <a:off x="1276800" y="22320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 </a:t>
            </a:r>
          </a:p>
        </p:txBody>
      </p:sp>
      <p:sp>
        <p:nvSpPr>
          <p:cNvPr id="11" name="Agenda Numb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27200" y="22320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1276800" y="14112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427200" y="1412875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60783"/>
          </a:xfrm>
        </p:spPr>
        <p:txBody>
          <a:bodyPr anchor="b"/>
          <a:lstStyle/>
          <a:p>
            <a:r>
              <a:rPr lang="en-US"/>
              <a:t>Agenda Layout Option 1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7EFB747-1900-8044-B94B-1BA4A9E1CF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4194325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75001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D86E01-0346-3F41-884F-E16BE0DC5D66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5" name="Agenda Description 6"/>
          <p:cNvSpPr>
            <a:spLocks noGrp="1"/>
          </p:cNvSpPr>
          <p:nvPr>
            <p:ph type="body" sz="quarter" idx="36" hasCustomPrompt="1"/>
          </p:nvPr>
        </p:nvSpPr>
        <p:spPr>
          <a:xfrm>
            <a:off x="7017600" y="4727525"/>
            <a:ext cx="4737600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0" name="Agenda Text 6"/>
          <p:cNvSpPr>
            <a:spLocks noGrp="1"/>
          </p:cNvSpPr>
          <p:nvPr>
            <p:ph type="body" sz="quarter" idx="26" hasCustomPrompt="1"/>
          </p:nvPr>
        </p:nvSpPr>
        <p:spPr>
          <a:xfrm>
            <a:off x="7017600" y="4280400"/>
            <a:ext cx="47376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1" name="Agenda Number 6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00" y="42768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4" name="Agenda Description 5"/>
          <p:cNvSpPr>
            <a:spLocks noGrp="1"/>
          </p:cNvSpPr>
          <p:nvPr>
            <p:ph type="body" sz="quarter" idx="35" hasCustomPrompt="1"/>
          </p:nvPr>
        </p:nvSpPr>
        <p:spPr>
          <a:xfrm>
            <a:off x="7017600" y="3280876"/>
            <a:ext cx="4737600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4" name="Agenda Text 5"/>
          <p:cNvSpPr>
            <a:spLocks noGrp="1"/>
          </p:cNvSpPr>
          <p:nvPr>
            <p:ph type="body" sz="quarter" idx="20" hasCustomPrompt="1"/>
          </p:nvPr>
        </p:nvSpPr>
        <p:spPr>
          <a:xfrm>
            <a:off x="7017600" y="2833200"/>
            <a:ext cx="47376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Agenda Numb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192000" y="28296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Agenda Description 4"/>
          <p:cNvSpPr>
            <a:spLocks noGrp="1"/>
          </p:cNvSpPr>
          <p:nvPr>
            <p:ph type="body" sz="quarter" idx="34" hasCustomPrompt="1"/>
          </p:nvPr>
        </p:nvSpPr>
        <p:spPr>
          <a:xfrm>
            <a:off x="7017600" y="1858876"/>
            <a:ext cx="4737600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Agenda Text 4"/>
          <p:cNvSpPr>
            <a:spLocks noGrp="1"/>
          </p:cNvSpPr>
          <p:nvPr>
            <p:ph type="body" sz="quarter" idx="16" hasCustomPrompt="1"/>
          </p:nvPr>
        </p:nvSpPr>
        <p:spPr>
          <a:xfrm>
            <a:off x="7017600" y="1411200"/>
            <a:ext cx="4737600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Agenda Numb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192000" y="14112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2" name="Agenda Description 3"/>
          <p:cNvSpPr>
            <a:spLocks noGrp="1"/>
          </p:cNvSpPr>
          <p:nvPr>
            <p:ph type="body" sz="quarter" idx="33" hasCustomPrompt="1"/>
          </p:nvPr>
        </p:nvSpPr>
        <p:spPr>
          <a:xfrm>
            <a:off x="1276800" y="4727525"/>
            <a:ext cx="4675267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2" name="Agenda Text 3"/>
          <p:cNvSpPr>
            <a:spLocks noGrp="1"/>
          </p:cNvSpPr>
          <p:nvPr>
            <p:ph type="body" sz="quarter" idx="28" hasCustomPrompt="1"/>
          </p:nvPr>
        </p:nvSpPr>
        <p:spPr>
          <a:xfrm>
            <a:off x="1276800" y="42804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3" name="Agenda Numb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27200" y="42768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Agenda Description 2"/>
          <p:cNvSpPr>
            <a:spLocks noGrp="1"/>
          </p:cNvSpPr>
          <p:nvPr>
            <p:ph type="body" sz="quarter" idx="32" hasCustomPrompt="1"/>
          </p:nvPr>
        </p:nvSpPr>
        <p:spPr>
          <a:xfrm>
            <a:off x="1276800" y="3280876"/>
            <a:ext cx="4675267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6" name="Agenda Text 2"/>
          <p:cNvSpPr>
            <a:spLocks noGrp="1"/>
          </p:cNvSpPr>
          <p:nvPr>
            <p:ph type="body" sz="quarter" idx="22" hasCustomPrompt="1"/>
          </p:nvPr>
        </p:nvSpPr>
        <p:spPr>
          <a:xfrm>
            <a:off x="1276800" y="28332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7" name="Agenda Numb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27200" y="2829600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Agenda Description 1"/>
          <p:cNvSpPr>
            <a:spLocks noGrp="1"/>
          </p:cNvSpPr>
          <p:nvPr>
            <p:ph type="body" sz="quarter" idx="31" hasCustomPrompt="1"/>
          </p:nvPr>
        </p:nvSpPr>
        <p:spPr>
          <a:xfrm>
            <a:off x="1276800" y="1858876"/>
            <a:ext cx="4675267" cy="6012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200"/>
            </a:lvl2pPr>
            <a:lvl3pPr marL="540000" indent="-180000">
              <a:buClrTx/>
              <a:buFont typeface="Wingdings" panose="05000000000000000000" pitchFamily="2" charset="2"/>
              <a:buChar char="§"/>
              <a:defRPr sz="1200"/>
            </a:lvl3pPr>
            <a:lvl4pPr marL="720000" indent="-180000"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Bullets text size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1276800" y="1411200"/>
            <a:ext cx="4675267" cy="446400"/>
          </a:xfrm>
        </p:spPr>
        <p:txBody>
          <a:bodyPr bIns="25200" anchor="b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lang="en-US"/>
              <a:t>Text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427200" y="1412875"/>
            <a:ext cx="619200" cy="442800"/>
          </a:xfrm>
        </p:spPr>
        <p:txBody>
          <a:bodyPr anchor="ctr"/>
          <a:lstStyle>
            <a:lvl1pPr marL="0" indent="0" algn="r">
              <a:buNone/>
              <a:defRPr sz="3200" b="1"/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58401"/>
          </a:xfrm>
        </p:spPr>
        <p:txBody>
          <a:bodyPr anchor="b"/>
          <a:lstStyle/>
          <a:p>
            <a:r>
              <a:rPr lang="en-US"/>
              <a:t>Agenda Layout Option 2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628E622B-6067-CF41-9EB5-1E3FF2DA7B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74800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57513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412874"/>
            <a:ext cx="8100391" cy="4752976"/>
          </a:xfrm>
        </p:spPr>
        <p:txBody>
          <a:bodyPr/>
          <a:lstStyle>
            <a:lvl1pPr marL="304800" indent="0">
              <a:buNone/>
              <a:defRPr sz="1200"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89843" y="1411200"/>
            <a:ext cx="3570357" cy="4755600"/>
          </a:xfrm>
        </p:spPr>
        <p:txBody>
          <a:bodyPr/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200" y="295200"/>
            <a:ext cx="11328000" cy="396000"/>
          </a:xfrm>
        </p:spPr>
        <p:txBody>
          <a:bodyPr anchor="b"/>
          <a:lstStyle/>
          <a:p>
            <a:r>
              <a:rPr lang="en-US"/>
              <a:t>One Text Column with Pictu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3D9EEFF-824E-BA49-BC70-AA1AEFEFA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7038" y="692150"/>
            <a:ext cx="11328400" cy="720725"/>
          </a:xfrm>
        </p:spPr>
        <p:txBody>
          <a:bodyPr/>
          <a:lstStyle>
            <a:lvl1pPr marL="0" indent="0">
              <a:buNone/>
              <a:defRPr lang="en-US" sz="2800" b="0" kern="1200" dirty="0" smtClean="0" bmk="">
                <a:solidFill>
                  <a:srgbClr val="A8A8A7"/>
                </a:solidFill>
                <a:latin typeface="Credit Suisse Headline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Text Credit Suisse Grey 4</a:t>
            </a:r>
          </a:p>
        </p:txBody>
      </p:sp>
    </p:spTree>
    <p:extLst>
      <p:ext uri="{BB962C8B-B14F-4D97-AF65-F5344CB8AC3E}">
        <p14:creationId xmlns:p14="http://schemas.microsoft.com/office/powerpoint/2010/main" val="24044320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398911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/>
          <p:cNvSpPr>
            <a:spLocks noGrp="1"/>
          </p:cNvSpPr>
          <p:nvPr>
            <p:ph type="sldNum" sz="quarter" idx="4"/>
          </p:nvPr>
        </p:nvSpPr>
        <p:spPr>
          <a:xfrm>
            <a:off x="11275200" y="6534000"/>
            <a:ext cx="480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Date"/>
          <p:cNvSpPr>
            <a:spLocks noGrp="1"/>
          </p:cNvSpPr>
          <p:nvPr>
            <p:ph type="dt" sz="half" idx="2"/>
          </p:nvPr>
        </p:nvSpPr>
        <p:spPr>
          <a:xfrm>
            <a:off x="9595200" y="6534000"/>
            <a:ext cx="1488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8ABBD6F6-8E62-F344-B386-430E4DA8351A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>
          <a:xfrm>
            <a:off x="2068800" y="6534000"/>
            <a:ext cx="714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3" name="Logo" descr="AQAAAAAQAOPGc7iC00xJp5i0DRTyarEZu5aoaY1YH2pg8x/bEmttkbJ7pKmIiIK3RoLcLFTuA7vSc2GVAFNqYiyWsjYU7LWZ0fL3poKW/1jlKv/gDYu67YgFLZyxiM9f2aLHxCSw5Mgbp8oI/L/O9CJtAZFnVX6Tm8S7JW0heDUyTN1EhMvur4ZTtGG9aphVpcs0OGfq2QhhLRqdrmlPNPVN8JqzFrVnxs6nLi87hHQ5i3Nk/RrPGGGZBeyuBJa1ubybYHLpSLuQUriVGk9xufFWe9sjV/SU8W5xqbwjGXxHD3X1SxQJDlf3xT8PZgBdbgNXK3wAQdIvvFFFphv020Fn3snchH74+fslAnVEu5KMSPe0zbXNZQwfFz/Uxi7g4VpNk+ycHpGfEEJVCXeYOinGEY5AFP5ErQ+7AB6/GF2xkMJtYuXNRcv3xDRSwKIT1Q2zup4AU8O9HKaTbEiYT5opWfd/sBL7D+QhgVosHjcKyIG7FaOKTkw2210z8PujMYiI9FtlvUNHOigcLCOsqw2ONcUTwCA=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302" y="6451201"/>
            <a:ext cx="1057044" cy="187525"/>
          </a:xfrm>
          <a:prstGeom prst="rect">
            <a:avLst/>
          </a:prstGeom>
        </p:spPr>
      </p:pic>
      <p:cxnSp>
        <p:nvCxnSpPr>
          <p:cNvPr id="10" name="Black_line"/>
          <p:cNvCxnSpPr/>
          <p:nvPr/>
        </p:nvCxnSpPr>
        <p:spPr>
          <a:xfrm>
            <a:off x="427200" y="6379200"/>
            <a:ext cx="113280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427200" y="1412875"/>
            <a:ext cx="11328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</a:p>
          <a:p>
            <a:pPr lvl="3"/>
            <a:r>
              <a:rPr lang="en-US"/>
              <a:t>Text level 4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7200" y="295200"/>
            <a:ext cx="11328000" cy="7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449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92" r:id="rId3"/>
    <p:sldLayoutId id="2147483691" r:id="rId4"/>
    <p:sldLayoutId id="2147483693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69" r:id="rId20"/>
    <p:sldLayoutId id="2147483671" r:id="rId21"/>
  </p:sldLayoutIdLst>
  <p:hf hdr="0"/>
  <p:txStyles>
    <p:titleStyle>
      <a:lvl1pPr algn="l" defTabSz="914400" rtl="0" eaLnBrk="1" latinLnBrk="0" hangingPunct="1">
        <a:lnSpc>
          <a:spcPct val="82000"/>
        </a:lnSpc>
        <a:spcBef>
          <a:spcPct val="0"/>
        </a:spcBef>
        <a:buNone/>
        <a:defRPr sz="2800" b="0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spcBef>
          <a:spcPts val="0"/>
        </a:spcBef>
        <a:buFont typeface="Credit Suisse Type Light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68288" algn="l" defTabSz="914400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69875" algn="l" defTabSz="914400" rtl="0" eaLnBrk="1" latinLnBrk="0" hangingPunct="1">
        <a:spcBef>
          <a:spcPts val="0"/>
        </a:spcBef>
        <a:buFont typeface="Credit Suisse Type Light" pitchFamily="34" charset="0"/>
        <a:buChar char="–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8288" algn="l" defTabSz="914400" rtl="0" eaLnBrk="1" latinLnBrk="0" hangingPunct="1">
        <a:spcBef>
          <a:spcPts val="0"/>
        </a:spcBef>
        <a:buClr>
          <a:srgbClr val="91867E"/>
        </a:buClr>
        <a:buFont typeface="Credit Suisse Type Light" pitchFamily="34" charset="0"/>
        <a:buChar char="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3tICXGVFBDY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9.gif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tif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tif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ew picture"/>
          <p:cNvPicPr>
            <a:picLocks noGrp="1"/>
          </p:cNvPicPr>
          <p:nvPr>
            <p:ph type="pic" sz="quarter" idx="17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bservability: Visualize, Analyze, Troubleshoo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71A6948-FF09-0A46-B7BD-DD006B93A7D3}" type="datetime2">
              <a:rPr lang="en-US" smtClean="0"/>
              <a:t>Friday, July 16, 2021</a:t>
            </a:fld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9751962-7C6B-B344-94C7-C6885CB659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62400" y="1218961"/>
            <a:ext cx="10485200" cy="861774"/>
          </a:xfrm>
        </p:spPr>
        <p:txBody>
          <a:bodyPr>
            <a:noAutofit/>
          </a:bodyPr>
          <a:lstStyle/>
          <a:p>
            <a:pPr>
              <a:lnSpc>
                <a:spcPts val="3000"/>
              </a:lnSpc>
            </a:pPr>
            <a:r>
              <a:rPr lang="en-US" dirty="0"/>
              <a:t>How metric, alerts, and dashboards </a:t>
            </a:r>
            <a:r>
              <a:rPr lang="en-US" altLang="" dirty="0"/>
              <a:t>to enhance security, empower developers and operations, and control cost.</a:t>
            </a:r>
            <a:endParaRPr lang="" altLang="" dirty="0"/>
          </a:p>
        </p:txBody>
      </p:sp>
      <p:sp>
        <p:nvSpPr>
          <p:cNvPr id="6" name="New shape"/>
          <p:cNvSpPr/>
          <p:nvPr/>
        </p:nvSpPr>
        <p:spPr>
          <a:xfrm>
            <a:off x="2478000" y="687600"/>
            <a:ext cx="7862400" cy="1684800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Aft>
                <a:spcPts val="700"/>
              </a:spcAft>
              <a:defRPr lang="" altLang="" sz="4000" b="0" bmk="">
                <a:latin typeface="Credit Suisse Headline"/>
              </a:defRPr>
            </a:pPr>
            <a:endParaRPr lang="" altLang="" sz="4000" bmk="">
              <a:solidFill>
                <a:srgbClr val="A8A8A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7590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1D4A2F-E324-5A40-BBDA-87FC026B14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677686-150D-FA46-944C-C2157235349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AB19677-B0DA-6E4F-A551-80222A75ABD3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E7879-AD87-EC4C-A126-FE19DF636A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F41082-CE91-E349-B2AF-32CEE118E4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7200" y="1052512"/>
            <a:ext cx="6456362" cy="4752975"/>
          </a:xfrm>
        </p:spPr>
        <p:txBody>
          <a:bodyPr anchor="ctr"/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400" dirty="0"/>
              <a:t>Have a hypothesis (introducing Kafka-Connect + Spark to increase performance and reduce cost)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400" dirty="0"/>
              <a:t>Clarify features (10x growth, reduce cost, easily scale, replay data)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400" dirty="0"/>
              <a:t>Figure out how to test this hypothesis (decouple state and compute)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400" dirty="0"/>
              <a:t>Build and experiment (</a:t>
            </a:r>
            <a:r>
              <a:rPr lang="en-US" sz="2400" dirty="0" err="1"/>
              <a:t>kafka</a:t>
            </a:r>
            <a:r>
              <a:rPr lang="en-US" sz="2400" dirty="0"/>
              <a:t>-connect memory, multipart uploads, byte buffers, </a:t>
            </a:r>
            <a:r>
              <a:rPr lang="en-US" sz="2400" dirty="0" err="1"/>
              <a:t>etc</a:t>
            </a:r>
            <a:r>
              <a:rPr lang="en-US" sz="2400" dirty="0"/>
              <a:t>)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400" dirty="0"/>
              <a:t>Measure and validate (unit test, integration tests, load-test, </a:t>
            </a:r>
            <a:r>
              <a:rPr lang="en-US" sz="2400" b="1" dirty="0"/>
              <a:t>slowest parts, data correctness, game days</a:t>
            </a:r>
            <a:r>
              <a:rPr lang="en-US" sz="2400" dirty="0"/>
              <a:t>)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400" dirty="0"/>
              <a:t>Releas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E8C04CC-D34C-C147-BC9D-0FF8D50F9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to Da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7E438B-3272-124E-9200-F7D74CF9C74A}"/>
              </a:ext>
            </a:extLst>
          </p:cNvPr>
          <p:cNvSpPr/>
          <p:nvPr/>
        </p:nvSpPr>
        <p:spPr>
          <a:xfrm>
            <a:off x="3794972" y="5980593"/>
            <a:ext cx="49597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2"/>
              </a:rPr>
              <a:t>https://www.youtube.com/watch?v=3tICXGVFBDY</a:t>
            </a:r>
            <a:r>
              <a:rPr lang="en-US" dirty="0"/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C30538-DC4A-7040-9FEE-32E28EE2EEFF}"/>
              </a:ext>
            </a:extLst>
          </p:cNvPr>
          <p:cNvSpPr txBox="1"/>
          <p:nvPr/>
        </p:nvSpPr>
        <p:spPr>
          <a:xfrm>
            <a:off x="7502200" y="2359587"/>
            <a:ext cx="4185999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i="1" dirty="0"/>
              <a:t>We figured out the optimal size of buffers to avoid out of memory issues that we had before…we discovered them by monitoring the system.</a:t>
            </a:r>
          </a:p>
        </p:txBody>
      </p:sp>
    </p:spTree>
    <p:extLst>
      <p:ext uri="{BB962C8B-B14F-4D97-AF65-F5344CB8AC3E}">
        <p14:creationId xmlns:p14="http://schemas.microsoft.com/office/powerpoint/2010/main" val="9091648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8D9049-F303-4349-A309-4563012D18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F5F6E6-CCAD-1443-A5AD-A5CDD8835C0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ADD1B5-2106-0640-81DB-9251B59EF65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E340378-1992-F44F-83AE-E2BD2C37F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ident Managemen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AE5861-586B-0544-86DD-1A956FEF8B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5842" name="Picture 2">
            <a:extLst>
              <a:ext uri="{FF2B5EF4-FFF2-40B4-BE49-F238E27FC236}">
                <a16:creationId xmlns:a16="http://schemas.microsoft.com/office/drawing/2014/main" id="{F9C82C93-39ED-7645-B540-A88C10F615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387" t="5104" r="2545" b="3150"/>
          <a:stretch/>
        </p:blipFill>
        <p:spPr bwMode="auto">
          <a:xfrm>
            <a:off x="6312856" y="1412875"/>
            <a:ext cx="5584072" cy="4569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7BB333E-AAE9-2F49-AED4-07F7EDF9996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12875"/>
            <a:ext cx="6233456" cy="4131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244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12" name="Picture 8" descr="A service map in New Relic One">
            <a:extLst>
              <a:ext uri="{FF2B5EF4-FFF2-40B4-BE49-F238E27FC236}">
                <a16:creationId xmlns:a16="http://schemas.microsoft.com/office/drawing/2014/main" id="{CFFDD194-237F-E340-9799-6209EAC53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54885" y="2090552"/>
            <a:ext cx="5927046" cy="2588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F5C4B4-08A5-E245-A53B-3486BAB559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AF6BFD-A092-6744-BF80-22E862593D0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9A4C55-A082-2E4E-8D26-02B76F943D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5668222-342D-4E40-A47D-CBEF8BFE0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isualiz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C31CF1B-21A9-D247-87A0-9791D482A4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1506" name="Picture 2" descr="Dynatrace smartscape">
            <a:extLst>
              <a:ext uri="{FF2B5EF4-FFF2-40B4-BE49-F238E27FC236}">
                <a16:creationId xmlns:a16="http://schemas.microsoft.com/office/drawing/2014/main" id="{1868E6E6-5C4B-414F-BF83-9376E2D980B9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63" r="2063"/>
          <a:stretch>
            <a:fillRect/>
          </a:stretch>
        </p:blipFill>
        <p:spPr bwMode="auto">
          <a:xfrm>
            <a:off x="0" y="1840890"/>
            <a:ext cx="6254885" cy="3670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0" name="Picture 6" descr="Service Map">
            <a:extLst>
              <a:ext uri="{FF2B5EF4-FFF2-40B4-BE49-F238E27FC236}">
                <a16:creationId xmlns:a16="http://schemas.microsoft.com/office/drawing/2014/main" id="{02AD9946-CD5E-3943-8D02-A20F651C2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616917"/>
            <a:ext cx="12212042" cy="398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5846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541F80-45E2-6F48-A976-00E888066D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F046FA-6555-ED49-86E4-8B87B574FF4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15C7F-A330-DE47-8BD7-7A62C3A22CF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2CBE29C-5065-454F-8A9F-5E9D4D3C7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Performance Monitoring (APM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1853C77-FFBC-AE49-870A-1B1081D314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2530" name="Picture 2">
            <a:extLst>
              <a:ext uri="{FF2B5EF4-FFF2-40B4-BE49-F238E27FC236}">
                <a16:creationId xmlns:a16="http://schemas.microsoft.com/office/drawing/2014/main" id="{04BA1EFB-C7E6-C74E-B873-7413A5FCEFBF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562" y="1412875"/>
            <a:ext cx="5507421" cy="3231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2" name="Picture 4" descr="New Relic Edge trace duration screenshot">
            <a:extLst>
              <a:ext uri="{FF2B5EF4-FFF2-40B4-BE49-F238E27FC236}">
                <a16:creationId xmlns:a16="http://schemas.microsoft.com/office/drawing/2014/main" id="{49EB4B81-097D-DC4C-85E7-4FBB1EDB1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397" y="4338068"/>
            <a:ext cx="5507421" cy="2519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4" name="Picture 6" descr="New Relic Edge detailed attributes screenshot">
            <a:extLst>
              <a:ext uri="{FF2B5EF4-FFF2-40B4-BE49-F238E27FC236}">
                <a16:creationId xmlns:a16="http://schemas.microsoft.com/office/drawing/2014/main" id="{DDB152CC-F41D-434B-B9E4-F38D2E0A92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4587" y="2374838"/>
            <a:ext cx="5493182" cy="2746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8" name="Picture 10">
            <a:extLst>
              <a:ext uri="{FF2B5EF4-FFF2-40B4-BE49-F238E27FC236}">
                <a16:creationId xmlns:a16="http://schemas.microsoft.com/office/drawing/2014/main" id="{3A06C005-8343-E64D-B28B-FFBCDE9F8F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033" y="691200"/>
            <a:ext cx="11028736" cy="6235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79907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9C78DD-D250-F845-8FC5-1AE9EFF3C6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024A66-CF83-474B-9D78-3F625EC464E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1B5DBF-1F0F-0045-AD28-B67A214F7A7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95114C-BDD7-0347-AF93-55C4820C3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g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756DA5-529E-DE49-AAFD-206856CDD7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4818" name="Picture 2">
            <a:extLst>
              <a:ext uri="{FF2B5EF4-FFF2-40B4-BE49-F238E27FC236}">
                <a16:creationId xmlns:a16="http://schemas.microsoft.com/office/drawing/2014/main" id="{E9ED572A-CFFF-BA42-808D-C543801D4E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962" y="691200"/>
            <a:ext cx="11207447" cy="61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75023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211EF2-A995-F34D-ADD5-D1EED3B007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A6EF61-648B-0441-92A2-3667E514EDC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FD687C-103E-754E-B78D-BE3053EBA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608CB6-D70D-0247-9D6E-AFE4041080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DE1897F-B811-3C4E-82D2-0B14EE07B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Monitor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9807A0-0D4C-AC49-8E89-C21C6973D9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Fully visualize your hosts to understand resource usage and needs" descr="Fully visualize your hosts to understand resource usage and needs">
            <a:hlinkClick r:id="" action="ppaction://media"/>
            <a:extLst>
              <a:ext uri="{FF2B5EF4-FFF2-40B4-BE49-F238E27FC236}">
                <a16:creationId xmlns:a16="http://schemas.microsoft.com/office/drawing/2014/main" id="{16A1D574-48E7-1C49-A1C5-03528228D38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02496" y="691200"/>
            <a:ext cx="10622604" cy="5975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149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034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8759F0-AEE2-0D4B-AD28-6E791E34C7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B2F1352-7FE0-AE49-A75D-F6D61AEEFBE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4A575E-D6F3-1C4C-BBAB-B096EF99A15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224B19-62A1-DA44-A5EC-D1B7C0228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thetic Monitoring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F95399E-5E1F-AD42-96F6-39FC858F1F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6866" name="Picture 2" descr="Results from a browser test correlated with backend data: trace, metrics, logs, and more.">
            <a:extLst>
              <a:ext uri="{FF2B5EF4-FFF2-40B4-BE49-F238E27FC236}">
                <a16:creationId xmlns:a16="http://schemas.microsoft.com/office/drawing/2014/main" id="{6BEF456D-B08E-3D49-AB7F-F9F1A864A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562" y="679663"/>
            <a:ext cx="10983710" cy="6178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1476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790925-6B26-4948-A1DB-1DF2695A66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DA22C4-8127-4842-B021-FE68863FA53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19D3B2-D656-B541-82C5-AD8C27ECC9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53679B1-21CB-AD4E-B2EF-34503FDA9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 User Monitoring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86C0BC-981D-3541-B12B-C9EB173043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Drill down to the resources, actions for every user session" descr="Drill down to the resources, actions for every user session">
            <a:hlinkClick r:id="" action="ppaction://media"/>
            <a:extLst>
              <a:ext uri="{FF2B5EF4-FFF2-40B4-BE49-F238E27FC236}">
                <a16:creationId xmlns:a16="http://schemas.microsoft.com/office/drawing/2014/main" id="{AE383FC9-A2ED-A14A-AC6A-D197BE506B2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69859" y="692150"/>
            <a:ext cx="10823162" cy="6088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791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317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FEED460-FEB8-4A42-95A9-CEF4E7CD51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9FF25B-950E-4A47-9570-7F780BF226D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9BDB2AD-1C5D-BE45-BB0C-1165F42078ED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C5EACB-8FDB-644F-91D0-131052DE34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A14848E-C69A-AB44-B89E-39B93D5C1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Monitoring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4861823-1639-2F49-9B26-E4440C1C67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755441-A90F-264F-AA11-AB098E02CA8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27403"/>
            <a:ext cx="6254887" cy="3618530"/>
          </a:xfrm>
          <a:prstGeom prst="rect">
            <a:avLst/>
          </a:prstGeom>
        </p:spPr>
      </p:pic>
      <p:pic>
        <p:nvPicPr>
          <p:cNvPr id="37890" name="Picture 2" descr="Cloud native security monitoring">
            <a:extLst>
              <a:ext uri="{FF2B5EF4-FFF2-40B4-BE49-F238E27FC236}">
                <a16:creationId xmlns:a16="http://schemas.microsoft.com/office/drawing/2014/main" id="{689F7C31-CFFA-AE4E-B17E-2B2FC7BB66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9434" y="1089100"/>
            <a:ext cx="6682566" cy="5145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33479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158506-4C32-CD44-AFCD-B324404B1E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223F944-7BAC-CF41-8219-DF0A6CFF94A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9BDB2AD-1C5D-BE45-BB0C-1165F42078ED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1DA039-ED3C-D94F-9D47-2D90B4A846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A2DB5D0-E999-504E-9FE6-68DB1420F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curity Posture Management (CSPM) &amp; Complian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5153DA-CBD5-5C45-A715-5929698C25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6799F7-16FA-5D40-A01E-D64B8042D1C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12875"/>
            <a:ext cx="5784006" cy="4005424"/>
          </a:xfrm>
          <a:prstGeom prst="rect">
            <a:avLst/>
          </a:prstGeom>
        </p:spPr>
      </p:pic>
      <p:pic>
        <p:nvPicPr>
          <p:cNvPr id="38914" name="Picture 2">
            <a:extLst>
              <a:ext uri="{FF2B5EF4-FFF2-40B4-BE49-F238E27FC236}">
                <a16:creationId xmlns:a16="http://schemas.microsoft.com/office/drawing/2014/main" id="{0EDAE554-E882-184E-9535-9799B3CA5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59291" y="1439701"/>
            <a:ext cx="6832709" cy="427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3519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ED1454-896B-D748-917B-D98A73AFB1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61AC02-186B-2141-914A-2B04FAD90F3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B548CC4-53DE-2F4F-AE75-F1100E2E5C15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F6E417-75DA-3F41-ADF3-8C40A7398C1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75BE91-7548-2C4C-8EFE-779AE246BC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33149" y="768308"/>
            <a:ext cx="4327051" cy="3414586"/>
          </a:xfrm>
        </p:spPr>
        <p:txBody>
          <a:bodyPr/>
          <a:lstStyle/>
          <a:p>
            <a:r>
              <a:rPr lang="en-US" sz="1300" dirty="0"/>
              <a:t>Challenge</a:t>
            </a:r>
          </a:p>
          <a:p>
            <a:r>
              <a:rPr lang="en-US" sz="1300" dirty="0"/>
              <a:t>Hybrid-Cloud</a:t>
            </a:r>
          </a:p>
          <a:p>
            <a:r>
              <a:rPr lang="en-US" sz="1300" dirty="0"/>
              <a:t>Nomenclature Standardization </a:t>
            </a:r>
          </a:p>
          <a:p>
            <a:r>
              <a:rPr lang="en-US" sz="1300" dirty="0"/>
              <a:t>Metrics as Code </a:t>
            </a:r>
          </a:p>
          <a:p>
            <a:r>
              <a:rPr lang="en-US" sz="1300" dirty="0"/>
              <a:t>Everything is a Terraform Module </a:t>
            </a:r>
          </a:p>
          <a:p>
            <a:r>
              <a:rPr lang="en-US" sz="1300" dirty="0"/>
              <a:t>Extending Terraform with Configuration </a:t>
            </a:r>
          </a:p>
          <a:p>
            <a:r>
              <a:rPr lang="en-US" sz="1300" dirty="0"/>
              <a:t>Honest Metrics </a:t>
            </a:r>
          </a:p>
          <a:p>
            <a:r>
              <a:rPr lang="en-US" sz="1300" dirty="0"/>
              <a:t>Day to Day </a:t>
            </a:r>
          </a:p>
          <a:p>
            <a:r>
              <a:rPr lang="en-US" sz="1300" dirty="0"/>
              <a:t>Incident Management </a:t>
            </a:r>
          </a:p>
          <a:p>
            <a:r>
              <a:rPr lang="en-US" sz="1300" dirty="0"/>
              <a:t>Service Visualization </a:t>
            </a:r>
          </a:p>
          <a:p>
            <a:r>
              <a:rPr lang="en-US" sz="1300" dirty="0"/>
              <a:t>Application Performance Monitoring (APM) </a:t>
            </a:r>
          </a:p>
          <a:p>
            <a:r>
              <a:rPr lang="en-US" sz="1300" dirty="0"/>
              <a:t>Logging </a:t>
            </a:r>
          </a:p>
          <a:p>
            <a:r>
              <a:rPr lang="en-US" sz="1300" dirty="0"/>
              <a:t>Infrastructure Monitoring </a:t>
            </a:r>
          </a:p>
          <a:p>
            <a:r>
              <a:rPr lang="en-US" sz="1300" dirty="0"/>
              <a:t>Synthetic Monitoring </a:t>
            </a:r>
          </a:p>
          <a:p>
            <a:r>
              <a:rPr lang="en-US" sz="1300" dirty="0"/>
              <a:t>Real User Monitoring </a:t>
            </a:r>
          </a:p>
          <a:p>
            <a:r>
              <a:rPr lang="en-US" sz="1300" dirty="0"/>
              <a:t>Security Monitoring </a:t>
            </a:r>
          </a:p>
          <a:p>
            <a:r>
              <a:rPr lang="en-US" sz="1300" dirty="0"/>
              <a:t>Cloud Security Posture Management (CSPM) </a:t>
            </a:r>
          </a:p>
          <a:p>
            <a:r>
              <a:rPr lang="en-US" sz="1300" dirty="0"/>
              <a:t>Methodology of Selection 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BCFC8BC-B566-A143-8E66-50CB27D83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D00B19D-F484-7949-92C5-091E78527957}"/>
              </a:ext>
            </a:extLst>
          </p:cNvPr>
          <p:cNvGrpSpPr/>
          <p:nvPr/>
        </p:nvGrpSpPr>
        <p:grpSpPr>
          <a:xfrm>
            <a:off x="427200" y="768308"/>
            <a:ext cx="6898843" cy="5826892"/>
            <a:chOff x="431800" y="466928"/>
            <a:chExt cx="8507098" cy="6858024"/>
          </a:xfrm>
        </p:grpSpPr>
        <p:pic>
          <p:nvPicPr>
            <p:cNvPr id="13" name="Google Shape;338;p68">
              <a:extLst>
                <a:ext uri="{FF2B5EF4-FFF2-40B4-BE49-F238E27FC236}">
                  <a16:creationId xmlns:a16="http://schemas.microsoft.com/office/drawing/2014/main" id="{6652D236-E85C-8947-B138-B6EF065A29C0}"/>
                </a:ext>
              </a:extLst>
            </p:cNvPr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0221"/>
            <a:stretch/>
          </p:blipFill>
          <p:spPr>
            <a:xfrm>
              <a:off x="431800" y="466928"/>
              <a:ext cx="8507098" cy="6858024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" name="Google Shape;339;p68">
              <a:extLst>
                <a:ext uri="{FF2B5EF4-FFF2-40B4-BE49-F238E27FC236}">
                  <a16:creationId xmlns:a16="http://schemas.microsoft.com/office/drawing/2014/main" id="{96E74A8D-8BF7-5740-84AD-415094917E8E}"/>
                </a:ext>
              </a:extLst>
            </p:cNvPr>
            <p:cNvGrpSpPr/>
            <p:nvPr/>
          </p:nvGrpSpPr>
          <p:grpSpPr>
            <a:xfrm>
              <a:off x="563870" y="541222"/>
              <a:ext cx="2262605" cy="3776731"/>
              <a:chOff x="3816970" y="286058"/>
              <a:chExt cx="2262605" cy="3776731"/>
            </a:xfrm>
          </p:grpSpPr>
          <p:sp>
            <p:nvSpPr>
              <p:cNvPr id="15" name="Google Shape;340;p68">
                <a:extLst>
                  <a:ext uri="{FF2B5EF4-FFF2-40B4-BE49-F238E27FC236}">
                    <a16:creationId xmlns:a16="http://schemas.microsoft.com/office/drawing/2014/main" id="{CE2B4B02-B5E0-B340-8AE1-142EA00F4D6F}"/>
                  </a:ext>
                </a:extLst>
              </p:cNvPr>
              <p:cNvSpPr txBox="1"/>
              <p:nvPr/>
            </p:nvSpPr>
            <p:spPr>
              <a:xfrm>
                <a:off x="3816970" y="286058"/>
                <a:ext cx="2262600" cy="416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rgbClr val="808080"/>
                    </a:solidFill>
                    <a:latin typeface="Roboto Medium"/>
                    <a:ea typeface="Roboto Medium"/>
                    <a:cs typeface="Roboto Medium"/>
                    <a:sym typeface="Roboto Medium"/>
                  </a:rPr>
                  <a:t>Application / Front-end</a:t>
                </a:r>
                <a:endParaRPr sz="1000">
                  <a:solidFill>
                    <a:srgbClr val="808080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  <a:p>
                <a:pPr marL="0" lvl="0" indent="0" algn="l" rtl="0">
                  <a:spcBef>
                    <a:spcPts val="100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rgbClr val="202020"/>
                    </a:solidFill>
                    <a:latin typeface="Roboto Medium"/>
                    <a:ea typeface="Roboto Medium"/>
                    <a:cs typeface="Roboto Medium"/>
                    <a:sym typeface="Roboto Medium"/>
                  </a:rPr>
                  <a:t>Mobile Developers</a:t>
                </a:r>
                <a:endParaRPr sz="100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rgbClr val="202020"/>
                    </a:solidFill>
                    <a:latin typeface="Roboto Medium"/>
                    <a:ea typeface="Roboto Medium"/>
                    <a:cs typeface="Roboto Medium"/>
                    <a:sym typeface="Roboto Medium"/>
                  </a:rPr>
                  <a:t>Web Developers</a:t>
                </a:r>
                <a:endParaRPr sz="100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16" name="Google Shape;341;p68">
                <a:extLst>
                  <a:ext uri="{FF2B5EF4-FFF2-40B4-BE49-F238E27FC236}">
                    <a16:creationId xmlns:a16="http://schemas.microsoft.com/office/drawing/2014/main" id="{D10ADB71-D535-7E4A-AA6F-CE723A7ABC2D}"/>
                  </a:ext>
                </a:extLst>
              </p:cNvPr>
              <p:cNvSpPr txBox="1"/>
              <p:nvPr/>
            </p:nvSpPr>
            <p:spPr>
              <a:xfrm>
                <a:off x="3816975" y="2561889"/>
                <a:ext cx="2262600" cy="1500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en" sz="1000" dirty="0">
                    <a:solidFill>
                      <a:srgbClr val="808080"/>
                    </a:solidFill>
                    <a:latin typeface="Roboto Medium"/>
                    <a:ea typeface="Roboto Medium"/>
                    <a:cs typeface="Roboto Medium"/>
                    <a:sym typeface="Roboto Medium"/>
                  </a:rPr>
                  <a:t>Application / Back-end</a:t>
                </a:r>
                <a:endParaRPr sz="1000" dirty="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  <a:p>
                <a:pPr marL="0" lvl="0" indent="0" algn="l" rtl="0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None/>
                </a:pPr>
                <a:r>
                  <a:rPr lang="en" sz="1000" dirty="0">
                    <a:solidFill>
                      <a:srgbClr val="202020"/>
                    </a:solidFill>
                    <a:latin typeface="Roboto Medium"/>
                    <a:ea typeface="Roboto Medium"/>
                    <a:cs typeface="Roboto Medium"/>
                    <a:sym typeface="Roboto Medium"/>
                  </a:rPr>
                  <a:t>Application Developers</a:t>
                </a:r>
                <a:endParaRPr sz="1000" dirty="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  <a:p>
                <a:pPr marL="0" lvl="0" indent="0" algn="l" rtl="0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 dirty="0">
                    <a:solidFill>
                      <a:srgbClr val="202020"/>
                    </a:solidFill>
                    <a:latin typeface="Roboto Medium"/>
                    <a:ea typeface="Roboto Medium"/>
                    <a:cs typeface="Roboto Medium"/>
                    <a:sym typeface="Roboto Medium"/>
                  </a:rPr>
                  <a:t>Software Engineers</a:t>
                </a:r>
                <a:endParaRPr sz="1000" dirty="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  <a:p>
                <a:pPr marL="0" lvl="0" indent="0" algn="l" rtl="0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 dirty="0">
                    <a:solidFill>
                      <a:srgbClr val="202020"/>
                    </a:solidFill>
                    <a:latin typeface="Roboto Medium"/>
                    <a:ea typeface="Roboto Medium"/>
                    <a:cs typeface="Roboto Medium"/>
                    <a:sym typeface="Roboto Medium"/>
                  </a:rPr>
                  <a:t>Customer Support </a:t>
                </a:r>
                <a:endParaRPr sz="1000" dirty="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  <a:p>
                <a:pPr marL="0" lvl="0" indent="0" algn="l" rtl="0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 dirty="0">
                    <a:solidFill>
                      <a:srgbClr val="202020"/>
                    </a:solidFill>
                    <a:latin typeface="Roboto Medium"/>
                    <a:ea typeface="Roboto Medium"/>
                    <a:cs typeface="Roboto Medium"/>
                    <a:sym typeface="Roboto Medium"/>
                  </a:rPr>
                  <a:t>Product Teams</a:t>
                </a:r>
                <a:endParaRPr sz="1000" dirty="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</p:grpSp>
        <p:sp>
          <p:nvSpPr>
            <p:cNvPr id="17" name="Google Shape;342;p68">
              <a:extLst>
                <a:ext uri="{FF2B5EF4-FFF2-40B4-BE49-F238E27FC236}">
                  <a16:creationId xmlns:a16="http://schemas.microsoft.com/office/drawing/2014/main" id="{47EDA2D2-5922-204A-8969-3A692C38E8DC}"/>
                </a:ext>
              </a:extLst>
            </p:cNvPr>
            <p:cNvSpPr txBox="1"/>
            <p:nvPr/>
          </p:nvSpPr>
          <p:spPr>
            <a:xfrm>
              <a:off x="563875" y="5109603"/>
              <a:ext cx="2262600" cy="1260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" sz="1000">
                  <a:solidFill>
                    <a:srgbClr val="808080"/>
                  </a:solidFill>
                  <a:latin typeface="Roboto Medium"/>
                  <a:ea typeface="Roboto Medium"/>
                  <a:cs typeface="Roboto Medium"/>
                  <a:sym typeface="Roboto Medium"/>
                </a:rPr>
                <a:t>Infrastructure</a:t>
              </a:r>
              <a:endParaRPr sz="1000">
                <a:solidFill>
                  <a:srgbClr val="202020"/>
                </a:solidFill>
                <a:latin typeface="Roboto Medium"/>
                <a:ea typeface="Roboto Medium"/>
                <a:cs typeface="Roboto Medium"/>
                <a:sym typeface="Roboto Medium"/>
              </a:endParaRPr>
            </a:p>
            <a:p>
              <a:pPr marL="0" lvl="0" indent="0" algn="l" rtl="0">
                <a:lnSpc>
                  <a:spcPct val="150000"/>
                </a:lnSpc>
                <a:spcBef>
                  <a:spcPts val="100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rPr>
                <a:t>Systems Admins</a:t>
              </a:r>
              <a:endParaRPr sz="1000">
                <a:solidFill>
                  <a:srgbClr val="202020"/>
                </a:solidFill>
                <a:latin typeface="Roboto Medium"/>
                <a:ea typeface="Roboto Medium"/>
                <a:cs typeface="Roboto Medium"/>
                <a:sym typeface="Roboto Medium"/>
              </a:endParaRPr>
            </a:p>
            <a:p>
              <a:pPr marL="0" lvl="0" indent="0" algn="l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rPr>
                <a:t>Cloud Infra Teams</a:t>
              </a:r>
              <a:endParaRPr sz="1000">
                <a:solidFill>
                  <a:srgbClr val="202020"/>
                </a:solidFill>
                <a:latin typeface="Roboto Medium"/>
                <a:ea typeface="Roboto Medium"/>
                <a:cs typeface="Roboto Medium"/>
                <a:sym typeface="Roboto Medium"/>
              </a:endParaRPr>
            </a:p>
            <a:p>
              <a:pPr marL="0" lvl="0" indent="0" algn="l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202020"/>
                  </a:solidFill>
                  <a:latin typeface="Roboto Medium"/>
                  <a:ea typeface="Roboto Medium"/>
                  <a:cs typeface="Roboto Medium"/>
                  <a:sym typeface="Roboto Medium"/>
                </a:rPr>
                <a:t>DevOps Teams</a:t>
              </a:r>
              <a:endParaRPr sz="1000">
                <a:solidFill>
                  <a:srgbClr val="202020"/>
                </a:solidFill>
                <a:latin typeface="Roboto Medium"/>
                <a:ea typeface="Roboto Medium"/>
                <a:cs typeface="Roboto Medium"/>
                <a:sym typeface="Roboto Medium"/>
              </a:endParaRPr>
            </a:p>
            <a:p>
              <a:pPr marL="0" lvl="0" indent="0" algn="l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rgbClr val="9D9EA7"/>
                </a:solidFill>
                <a:latin typeface="Roboto Medium"/>
                <a:ea typeface="Roboto Medium"/>
                <a:cs typeface="Roboto Medium"/>
                <a:sym typeface="Roboto Medium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F9946B6A-105A-AA4D-9FBB-5C1F8DDC1D1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2619" y="4653974"/>
            <a:ext cx="4939381" cy="180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857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B2804D-AD55-DD40-9A4E-15156321B4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1E5C5A-5C41-A14B-A90A-209D757A75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E9701C-B223-914C-9BCB-677F698982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60D80A1-91E9-B144-B055-4BB1EAD30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 of Selection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E3EDCA2-1B59-DC4F-914A-27850D8479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173239BF-A695-184E-9E99-9079E4A7FAE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970" r="-16970"/>
          <a:stretch/>
        </p:blipFill>
        <p:spPr>
          <a:xfrm>
            <a:off x="-519764" y="1181868"/>
            <a:ext cx="5856288" cy="4752975"/>
          </a:xfrm>
          <a:prstGeom prst="rect">
            <a:avLst/>
          </a:prstGeom>
        </p:spPr>
      </p:pic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11F30E92-8F53-2D4B-9BBC-86372BB85E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5545888"/>
              </p:ext>
            </p:extLst>
          </p:nvPr>
        </p:nvGraphicFramePr>
        <p:xfrm>
          <a:off x="4475748" y="1180918"/>
          <a:ext cx="7392201" cy="4773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7291">
                  <a:extLst>
                    <a:ext uri="{9D8B030D-6E8A-4147-A177-3AD203B41FA5}">
                      <a16:colId xmlns:a16="http://schemas.microsoft.com/office/drawing/2014/main" val="3436028942"/>
                    </a:ext>
                  </a:extLst>
                </a:gridCol>
                <a:gridCol w="828649">
                  <a:extLst>
                    <a:ext uri="{9D8B030D-6E8A-4147-A177-3AD203B41FA5}">
                      <a16:colId xmlns:a16="http://schemas.microsoft.com/office/drawing/2014/main" val="3130575471"/>
                    </a:ext>
                  </a:extLst>
                </a:gridCol>
                <a:gridCol w="933651">
                  <a:extLst>
                    <a:ext uri="{9D8B030D-6E8A-4147-A177-3AD203B41FA5}">
                      <a16:colId xmlns:a16="http://schemas.microsoft.com/office/drawing/2014/main" val="1787674994"/>
                    </a:ext>
                  </a:extLst>
                </a:gridCol>
                <a:gridCol w="1068404">
                  <a:extLst>
                    <a:ext uri="{9D8B030D-6E8A-4147-A177-3AD203B41FA5}">
                      <a16:colId xmlns:a16="http://schemas.microsoft.com/office/drawing/2014/main" val="3735136449"/>
                    </a:ext>
                  </a:extLst>
                </a:gridCol>
                <a:gridCol w="885524">
                  <a:extLst>
                    <a:ext uri="{9D8B030D-6E8A-4147-A177-3AD203B41FA5}">
                      <a16:colId xmlns:a16="http://schemas.microsoft.com/office/drawing/2014/main" val="2248398013"/>
                    </a:ext>
                  </a:extLst>
                </a:gridCol>
                <a:gridCol w="924026">
                  <a:extLst>
                    <a:ext uri="{9D8B030D-6E8A-4147-A177-3AD203B41FA5}">
                      <a16:colId xmlns:a16="http://schemas.microsoft.com/office/drawing/2014/main" val="89863844"/>
                    </a:ext>
                  </a:extLst>
                </a:gridCol>
                <a:gridCol w="1164656">
                  <a:extLst>
                    <a:ext uri="{9D8B030D-6E8A-4147-A177-3AD203B41FA5}">
                      <a16:colId xmlns:a16="http://schemas.microsoft.com/office/drawing/2014/main" val="1985436093"/>
                    </a:ext>
                  </a:extLst>
                </a:gridCol>
              </a:tblGrid>
              <a:tr h="3062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olistic 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espoke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6844269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DataDog</a:t>
                      </a:r>
                      <a:endParaRPr lang="en-US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ynatrace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ppDynamic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zure 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Osmosi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Opensource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43849571"/>
                  </a:ext>
                </a:extLst>
              </a:tr>
              <a:tr h="306220">
                <a:tc gridSpan="7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ata Centers</a:t>
                      </a:r>
                    </a:p>
                  </a:txBody>
                  <a:tcPr marL="45720" marR="4572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6190033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r>
                        <a:rPr lang="en-US" sz="1000" dirty="0"/>
                        <a:t>Azure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redit Suisse Type Light"/>
                        <a:ea typeface="+mn-ea"/>
                        <a:cs typeface="+mn-cs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307727113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r>
                        <a:rPr lang="en-US" sz="1000" dirty="0"/>
                        <a:t>Swiss DC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redit Suisse Type Light"/>
                        <a:ea typeface="+mn-ea"/>
                        <a:cs typeface="+mn-cs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redit Suisse Type Light"/>
                        <a:ea typeface="+mn-ea"/>
                        <a:cs typeface="+mn-cs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redit Suisse Type Ligh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704099314"/>
                  </a:ext>
                </a:extLst>
              </a:tr>
              <a:tr h="306220">
                <a:tc gridSpan="7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eatures</a:t>
                      </a:r>
                    </a:p>
                  </a:txBody>
                  <a:tcPr marL="45720" marR="4572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6937263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Helvetica Neue" panose="02000503000000020004" pitchFamily="2" charset="0"/>
                        </a:rPr>
                        <a:t>Incident Management 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549039386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Helvetica Neue" panose="02000503000000020004" pitchFamily="2" charset="0"/>
                        </a:rPr>
                        <a:t>Service Visualization 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849302024"/>
                  </a:ext>
                </a:extLst>
              </a:tr>
              <a:tr h="38605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Helvetica Neue" panose="02000503000000020004" pitchFamily="2" charset="0"/>
                        </a:rPr>
                        <a:t>Application Performance Monitoring (APM) 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657253631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Helvetica Neue" panose="02000503000000020004" pitchFamily="2" charset="0"/>
                        </a:rPr>
                        <a:t>Logging 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422519015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Helvetica Neue" panose="02000503000000020004" pitchFamily="2" charset="0"/>
                        </a:rPr>
                        <a:t>Infrastructure Monitoring 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033478956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Helvetica Neue" panose="02000503000000020004" pitchFamily="2" charset="0"/>
                        </a:rPr>
                        <a:t>Synthetic Monitoring 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2087240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Helvetica Neue" panose="02000503000000020004" pitchFamily="2" charset="0"/>
                        </a:rPr>
                        <a:t>Real User Monitoring 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809176025"/>
                  </a:ext>
                </a:extLst>
              </a:tr>
              <a:tr h="306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Helvetica Neue" panose="02000503000000020004" pitchFamily="2" charset="0"/>
                        </a:rPr>
                        <a:t>Security Monitoring 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497400587"/>
                  </a:ext>
                </a:extLst>
              </a:tr>
              <a:tr h="38605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Helvetica Neue" panose="02000503000000020004" pitchFamily="2" charset="0"/>
                        </a:rPr>
                        <a:t>Cloud Security Posture Management (CSPM) 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1464184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3455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73604F5-2BBC-144D-8725-039DDA6181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A26A6B-1C7A-6845-A08F-436FC5AEB3F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B548CC4-53DE-2F4F-AE75-F1100E2E5C15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BBE19D-5115-BB42-BD17-72474D1662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0F5CE3E-E204-6843-9667-D3D765B540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b="1" dirty="0"/>
              <a:t>Service Oriented</a:t>
            </a:r>
            <a:br>
              <a:rPr lang="en-US" dirty="0"/>
            </a:br>
            <a:r>
              <a:rPr lang="en-US" dirty="0"/>
              <a:t>Moving from IP controls to service naming and tagging nomenclature to define security, networking, and observability boundaries.</a:t>
            </a:r>
          </a:p>
          <a:p>
            <a:pPr marL="0" indent="0">
              <a:buNone/>
            </a:pPr>
            <a:r>
              <a:rPr lang="en-US" b="1" dirty="0"/>
              <a:t>Increasing Complexity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dirty="0"/>
              <a:t>From cross-cloud to SaaS to microservices, an application’s landscape has dramatically transformed. </a:t>
            </a:r>
          </a:p>
          <a:p>
            <a:pPr marL="0" indent="0">
              <a:buNone/>
            </a:pPr>
            <a:r>
              <a:rPr lang="en-US" b="1" dirty="0"/>
              <a:t>Ephemeral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dirty="0"/>
              <a:t>Flexible and fault-tolerant solutions to support containers, that may exist for seconds, to entire temporary ecosystems.  </a:t>
            </a:r>
          </a:p>
          <a:p>
            <a:pPr marL="0" indent="0">
              <a:buNone/>
            </a:pPr>
            <a:r>
              <a:rPr lang="en-US" b="1" dirty="0"/>
              <a:t>Domain Driven</a:t>
            </a:r>
          </a:p>
          <a:p>
            <a:pPr marL="0" indent="0">
              <a:buNone/>
            </a:pPr>
            <a:r>
              <a:rPr lang="en-US" dirty="0"/>
              <a:t>Clearly defining and enforcing certain naming patterns to ensure metrics are consistent and domain aligned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3E4AE58-E58A-9647-B8A2-FED98FC2F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 of Distributed Architectur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3D37C1B-C381-924B-A27C-8E902016FC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oving from cows to cattle</a:t>
            </a:r>
          </a:p>
        </p:txBody>
      </p:sp>
      <p:pic>
        <p:nvPicPr>
          <p:cNvPr id="23554" name="Picture 2">
            <a:extLst>
              <a:ext uri="{FF2B5EF4-FFF2-40B4-BE49-F238E27FC236}">
                <a16:creationId xmlns:a16="http://schemas.microsoft.com/office/drawing/2014/main" id="{A97F1FC2-738B-364E-A692-AF81300788D3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8" name="Picture 6">
            <a:extLst>
              <a:ext uri="{FF2B5EF4-FFF2-40B4-BE49-F238E27FC236}">
                <a16:creationId xmlns:a16="http://schemas.microsoft.com/office/drawing/2014/main" id="{BA94643D-C511-9142-853C-67401FA412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243" y="6063571"/>
            <a:ext cx="227787" cy="233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8034429-B055-9A4B-A124-34DC2252295E}"/>
              </a:ext>
            </a:extLst>
          </p:cNvPr>
          <p:cNvSpPr/>
          <p:nvPr/>
        </p:nvSpPr>
        <p:spPr>
          <a:xfrm>
            <a:off x="646030" y="6088315"/>
            <a:ext cx="329128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000000"/>
                </a:solidFill>
              </a:rPr>
              <a:t>= Network Middleware (FWs, LBs, API Gateways, etc..)</a:t>
            </a:r>
          </a:p>
        </p:txBody>
      </p:sp>
    </p:spTree>
    <p:extLst>
      <p:ext uri="{BB962C8B-B14F-4D97-AF65-F5344CB8AC3E}">
        <p14:creationId xmlns:p14="http://schemas.microsoft.com/office/powerpoint/2010/main" val="12240291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68CADA-FDCA-3340-A530-84738448A5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1C1532-E2ED-0B49-BD49-0504600A5B8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707CA2-EC53-8146-90D5-0B97822EE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47090B-E9D5-5542-8F64-9200942256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anchor="ctr"/>
          <a:lstStyle/>
          <a:p>
            <a:pPr marL="0" indent="0">
              <a:buNone/>
            </a:pPr>
            <a:r>
              <a:rPr lang="en-US" sz="1400" b="1" dirty="0"/>
              <a:t>Security Insights:</a:t>
            </a:r>
            <a:endParaRPr lang="en-US" sz="1400" dirty="0"/>
          </a:p>
          <a:p>
            <a:r>
              <a:rPr lang="en-US" sz="1400" dirty="0"/>
              <a:t>Which applications are encrypted?</a:t>
            </a:r>
          </a:p>
          <a:p>
            <a:r>
              <a:rPr lang="en-US" sz="1400" dirty="0"/>
              <a:t>How many applications are actively blocking threats?</a:t>
            </a:r>
          </a:p>
          <a:p>
            <a:r>
              <a:rPr lang="en-US" sz="1400" dirty="0"/>
              <a:t>Which apps are protected by a WAF?</a:t>
            </a:r>
            <a:br>
              <a:rPr lang="en-US" sz="1400" dirty="0"/>
            </a:br>
            <a:endParaRPr lang="en-US" sz="1400" dirty="0"/>
          </a:p>
          <a:p>
            <a:pPr marL="0" indent="0">
              <a:buNone/>
            </a:pPr>
            <a:r>
              <a:rPr lang="en-US" sz="1400" b="1" dirty="0"/>
              <a:t>Operational Insights:</a:t>
            </a:r>
            <a:endParaRPr lang="en-US" sz="1400" dirty="0"/>
          </a:p>
          <a:p>
            <a:r>
              <a:rPr lang="en-US" sz="1400" dirty="0"/>
              <a:t>Which apps are at risk of service disruption?</a:t>
            </a:r>
          </a:p>
          <a:p>
            <a:r>
              <a:rPr lang="en-US" sz="1400" dirty="0"/>
              <a:t>What percent of time was my app available?</a:t>
            </a:r>
          </a:p>
          <a:p>
            <a:r>
              <a:rPr lang="en-US" sz="1400" dirty="0"/>
              <a:t>What was the average response time for my apps?</a:t>
            </a:r>
          </a:p>
          <a:p>
            <a:r>
              <a:rPr lang="en-US" sz="1400" dirty="0"/>
              <a:t>Why is my app down?</a:t>
            </a:r>
            <a:br>
              <a:rPr lang="en-US" sz="1400" dirty="0"/>
            </a:br>
            <a:endParaRPr lang="en-US" sz="1400" dirty="0"/>
          </a:p>
          <a:p>
            <a:pPr marL="0" indent="0">
              <a:buNone/>
            </a:pPr>
            <a:r>
              <a:rPr lang="en-US" sz="1400" b="1" dirty="0"/>
              <a:t>Cost insights:</a:t>
            </a:r>
            <a:endParaRPr lang="en-US" sz="1400" dirty="0"/>
          </a:p>
          <a:p>
            <a:r>
              <a:rPr lang="en-US" sz="1400" dirty="0"/>
              <a:t>How many apps are deployed elastically?</a:t>
            </a:r>
          </a:p>
          <a:p>
            <a:r>
              <a:rPr lang="en-US" sz="1400" dirty="0"/>
              <a:t>Where are my idle and underutilized resources?</a:t>
            </a:r>
          </a:p>
          <a:p>
            <a:r>
              <a:rPr lang="en-US" sz="1400" dirty="0"/>
              <a:t>Which environments are using what percent of my budget?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2863F53-FFF1-F545-9930-E20CDF0F4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, Multi-Cloud Strateg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6C5D0A-6338-2B4E-B62A-78FE96DC62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pc="-150" dirty="0"/>
              <a:t>How to build a modern Zero-Trust backbone that will protect the Enterprise while accelerating the return of value? 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C203CFF8-2056-764D-8B6A-F9218ADC9A4A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604" b="-3959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0382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2848F8-4FEA-FA45-B2CC-17CC5E75CF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6091A1-0401-A343-9643-082D4CBD88A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DE1085-FDD9-3946-9F93-89E93EF2F52B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063AEA-DE01-AF4C-8BFE-D7573D9C4E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44DA97-B662-454D-BD51-07FCD4CBD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t"/>
            <a:r>
              <a:rPr lang="en-US" dirty="0"/>
              <a:t>Nomenclature Standardiz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C50B01-D10B-5842-AB61-F0990DB579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etting up global standards to do system-wide analysi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0C75B5-AD68-3049-B250-5576C7D57AF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291" y="1626245"/>
            <a:ext cx="7294179" cy="10663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5E4B45C-E324-4944-8A45-64087ED376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291" y="2692555"/>
            <a:ext cx="7408826" cy="351436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4423FD8-51BC-A047-B276-BFD0B35A7C07}"/>
              </a:ext>
            </a:extLst>
          </p:cNvPr>
          <p:cNvSpPr/>
          <p:nvPr/>
        </p:nvSpPr>
        <p:spPr>
          <a:xfrm>
            <a:off x="7703117" y="1744141"/>
            <a:ext cx="4088524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rics Explorer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Explore all of your metrics and perform Analytics.</a:t>
            </a:r>
          </a:p>
          <a:p>
            <a:pPr>
              <a:spcAft>
                <a:spcPts val="60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rics Types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Types of metrics that can be submitted.</a:t>
            </a:r>
          </a:p>
          <a:p>
            <a:pPr>
              <a:spcAft>
                <a:spcPts val="60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anced Filtering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Filter your data to narrow the scope of metrics returned.</a:t>
            </a:r>
          </a:p>
          <a:p>
            <a:pPr>
              <a:spcAft>
                <a:spcPts val="60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rics Summary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Understand your actively reporting metrics.</a:t>
            </a:r>
          </a:p>
          <a:p>
            <a:pPr>
              <a:spcAft>
                <a:spcPts val="60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tribution Metrics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Learn about Distribution Metrics and globally accurate percentiles.</a:t>
            </a:r>
          </a:p>
        </p:txBody>
      </p:sp>
    </p:spTree>
    <p:extLst>
      <p:ext uri="{BB962C8B-B14F-4D97-AF65-F5344CB8AC3E}">
        <p14:creationId xmlns:p14="http://schemas.microsoft.com/office/powerpoint/2010/main" val="15412535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66AB7F-BB06-1440-8C45-4F3535A634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05431F-42EA-E440-9928-06F06105243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9BDB2AD-1C5D-BE45-BB0C-1165F42078ED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B3FD04-00D3-2144-BAA6-2A4FDBE2EE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126E27-E2B6-4C42-B867-117B7589E6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20512" y="2326606"/>
            <a:ext cx="3781085" cy="2558214"/>
          </a:xfrm>
        </p:spPr>
        <p:txBody>
          <a:bodyPr/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sz="1800" b="1" dirty="0"/>
              <a:t>System: </a:t>
            </a:r>
            <a:br>
              <a:rPr lang="en-US" sz="1800" dirty="0"/>
            </a:br>
            <a:r>
              <a:rPr lang="en-US" sz="1800" dirty="0"/>
              <a:t>CPU / File Handle / IO/ Load / Memory / Uptime / </a:t>
            </a:r>
            <a:r>
              <a:rPr lang="en-US" sz="1800" dirty="0" err="1"/>
              <a:t>Winproc</a:t>
            </a:r>
            <a:r>
              <a:rPr lang="en-US" sz="1800" dirty="0"/>
              <a:t> </a:t>
            </a:r>
          </a:p>
          <a:p>
            <a:pPr marL="0" indent="0" algn="ctr">
              <a:spcAft>
                <a:spcPts val="600"/>
              </a:spcAft>
              <a:buNone/>
            </a:pPr>
            <a:r>
              <a:rPr lang="en-US" sz="1800" b="1" dirty="0"/>
              <a:t>Other:</a:t>
            </a:r>
            <a:br>
              <a:rPr lang="en-US" sz="1800" dirty="0"/>
            </a:br>
            <a:r>
              <a:rPr lang="en-US" sz="1800" dirty="0"/>
              <a:t>Disk / Network / Docker / NTP</a:t>
            </a:r>
          </a:p>
          <a:p>
            <a:pPr marL="0" indent="0" algn="ctr">
              <a:spcAft>
                <a:spcPts val="600"/>
              </a:spcAft>
              <a:buNone/>
            </a:pPr>
            <a:r>
              <a:rPr lang="en-US" sz="1800" b="1" dirty="0"/>
              <a:t>Custom:</a:t>
            </a:r>
            <a:br>
              <a:rPr lang="en-US" sz="1800" b="1" dirty="0"/>
            </a:br>
            <a:r>
              <a:rPr lang="en-US" sz="1800" dirty="0"/>
              <a:t>Agent / Crawler / Library (</a:t>
            </a:r>
            <a:r>
              <a:rPr lang="en-US" sz="1800" dirty="0" err="1"/>
              <a:t>api</a:t>
            </a:r>
            <a:r>
              <a:rPr lang="en-US" sz="1800" dirty="0"/>
              <a:t>)</a:t>
            </a:r>
            <a:endParaRPr lang="en-US" sz="1800" b="1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81D414A-53DB-FC44-A195-478A51E87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rics as Cod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BD6B600-28FB-6B4F-B2D6-E8201B36BE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Unified tooling from DEV to PRO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15A4CED-B1A9-C94B-BA8F-48C9783B83F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0966" y="1412875"/>
            <a:ext cx="4271434" cy="438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086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6896B-71A1-6C42-BD09-E3706872A8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5270DE-8B3D-3A4F-BBB4-0536A221C58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B4081D1-3427-0D48-B014-525ADDC46EFA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825015-FF15-F041-B0D0-C13F02CFB8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3CB940-11C3-9E4B-A719-36F7D6499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4552" y="2023402"/>
            <a:ext cx="6973013" cy="2301273"/>
          </a:xfrm>
        </p:spPr>
        <p:txBody>
          <a:bodyPr anchor="ctr"/>
          <a:lstStyle/>
          <a:p>
            <a:pPr marL="342900" indent="-342900">
              <a:buFont typeface="+mj-lt"/>
              <a:buAutoNum type="arabicPeriod"/>
            </a:pPr>
            <a:r>
              <a:rPr lang="en-US" sz="2800" dirty="0"/>
              <a:t>Define Tags and Variabl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800" dirty="0"/>
              <a:t>Include monitoring as a Terraform Modul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800" dirty="0"/>
              <a:t>Execute it from CI/CD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800" dirty="0"/>
              <a:t>Test</a:t>
            </a:r>
          </a:p>
          <a:p>
            <a:pPr marL="0" indent="0" algn="ctr">
              <a:buNone/>
            </a:pPr>
            <a:r>
              <a:rPr lang="en-US" sz="2800" i="1" dirty="0"/>
              <a:t>Everything as Cod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BD68002-44E3-A243-A4AD-794E2B7E3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thing is a Terraform Modu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CE8DAD-5C41-974F-99F3-9DBAAC6485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Build your core monitoring and logging side-by-side with your application and infrastructure definitions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3D449CD3-5C98-614A-8477-FFAC9D85F13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1257" y="1210479"/>
            <a:ext cx="4165600" cy="3298022"/>
          </a:xfrm>
          <a:prstGeom prst="rect">
            <a:avLst/>
          </a:prstGeom>
        </p:spPr>
      </p:pic>
      <p:pic>
        <p:nvPicPr>
          <p:cNvPr id="12" name="Picture Placeholder 30">
            <a:extLst>
              <a:ext uri="{FF2B5EF4-FFF2-40B4-BE49-F238E27FC236}">
                <a16:creationId xmlns:a16="http://schemas.microsoft.com/office/drawing/2014/main" id="{85EC3495-5BF9-8A46-A8FC-7590EB43419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211" b="-28211"/>
          <a:stretch/>
        </p:blipFill>
        <p:spPr>
          <a:xfrm>
            <a:off x="0" y="4110331"/>
            <a:ext cx="7265987" cy="2505075"/>
          </a:xfrm>
          <a:prstGeom prst="rect">
            <a:avLst/>
          </a:prstGeom>
        </p:spPr>
      </p:pic>
      <p:pic>
        <p:nvPicPr>
          <p:cNvPr id="14" name="Picture 13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3A3ABE56-FDB9-4048-918A-6DB2B022798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1256" y="4559889"/>
            <a:ext cx="4165600" cy="160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486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3EBAE4-2500-6C46-B3D6-C72BB6CC64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E8BEC3-55D3-6B4B-839B-69BE489CF7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B19677-B0DA-6E4F-A551-80222A75ABD3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459D42-F345-E94F-8DDB-F8808703206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1BBEB2-D295-764D-A1F0-CA8DD9EEB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ding Terraform with Configuration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EF172E5-37A9-9A4A-ADBD-06ED198F97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Not everything needs to be HC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57DAFE7-92C0-C547-B48F-5E95845A7E2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1795" y="2237362"/>
            <a:ext cx="5552816" cy="2597285"/>
          </a:xfrm>
          <a:prstGeom prst="rect">
            <a:avLst/>
          </a:prstGeom>
        </p:spPr>
      </p:pic>
      <p:pic>
        <p:nvPicPr>
          <p:cNvPr id="33794" name="Picture 2">
            <a:extLst>
              <a:ext uri="{FF2B5EF4-FFF2-40B4-BE49-F238E27FC236}">
                <a16:creationId xmlns:a16="http://schemas.microsoft.com/office/drawing/2014/main" id="{0ABDAAC1-05CF-9349-B34A-5267E9D547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399" y="1169591"/>
            <a:ext cx="5418454" cy="2798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Deep visibility into infrastructure performance">
            <a:extLst>
              <a:ext uri="{FF2B5EF4-FFF2-40B4-BE49-F238E27FC236}">
                <a16:creationId xmlns:a16="http://schemas.microsoft.com/office/drawing/2014/main" id="{4550C2F0-D204-B847-A75E-51C93BA78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389" y="3724430"/>
            <a:ext cx="5340474" cy="3133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9112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B3F71D-7A0B-2249-8686-F8D1069A3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785812-7CD1-7F45-A97E-3FB2AA68D8D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AB19677-B0DA-6E4F-A551-80222A75ABD3}" type="datetime2">
              <a:rPr lang="en-US" smtClean="0"/>
              <a:t>Friday, July 16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083616-AE7C-AA4B-BFEE-550BAAD88B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9AEDB66-048D-9142-AD75-D9DE8BCB34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nest Metrics</a:t>
            </a:r>
          </a:p>
        </p:txBody>
      </p:sp>
      <p:pic>
        <p:nvPicPr>
          <p:cNvPr id="39938" name="Picture 2">
            <a:extLst>
              <a:ext uri="{FF2B5EF4-FFF2-40B4-BE49-F238E27FC236}">
                <a16:creationId xmlns:a16="http://schemas.microsoft.com/office/drawing/2014/main" id="{BB7299D1-8CC5-B44D-86B6-3578F73F43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8800" y="692150"/>
            <a:ext cx="7073828" cy="565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5625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cs_en">
  <a:themeElements>
    <a:clrScheme name="New Brand">
      <a:dk1>
        <a:sysClr val="windowText" lastClr="000000"/>
      </a:dk1>
      <a:lt1>
        <a:sysClr val="window" lastClr="FFFFFF"/>
      </a:lt1>
      <a:dk2>
        <a:srgbClr val="7F7F7F"/>
      </a:dk2>
      <a:lt2>
        <a:srgbClr val="E7E8E9"/>
      </a:lt2>
      <a:accent1>
        <a:srgbClr val="0072CE"/>
      </a:accent1>
      <a:accent2>
        <a:srgbClr val="78C043"/>
      </a:accent2>
      <a:accent3>
        <a:srgbClr val="865BBC"/>
      </a:accent3>
      <a:accent4>
        <a:srgbClr val="00B2AC"/>
      </a:accent4>
      <a:accent5>
        <a:srgbClr val="DA0C6F"/>
      </a:accent5>
      <a:accent6>
        <a:srgbClr val="FFFFFF"/>
      </a:accent6>
      <a:hlink>
        <a:srgbClr val="000000"/>
      </a:hlink>
      <a:folHlink>
        <a:srgbClr val="000000"/>
      </a:folHlink>
    </a:clrScheme>
    <a:fontScheme name="Custom 1">
      <a:majorFont>
        <a:latin typeface="Credit Suisse Headline"/>
        <a:ea typeface=""/>
        <a:cs typeface=""/>
      </a:majorFont>
      <a:minorFont>
        <a:latin typeface="Credit Suisse Type 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2CE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buFont typeface="Wingdings" panose="05000000000000000000" pitchFamily="2" charset="2"/>
          <a:buChar char="§"/>
          <a:defRPr sz="1200" dirty="0" smtClean="0"/>
        </a:defPPr>
      </a:lstStyle>
    </a:txDef>
  </a:objectDefaults>
  <a:extraClrSchemeLst/>
  <a:custClrLst>
    <a:custClr name="Credit Suisse Blue">
      <a:srgbClr val="0072CE"/>
    </a:custClr>
    <a:custClr name="Credit Suisse Turquoise">
      <a:srgbClr val="00B2AC"/>
    </a:custClr>
    <a:custClr name="Credit Suisse Green">
      <a:srgbClr val="78C048"/>
    </a:custClr>
    <a:custClr name="Credit Suisse Purple">
      <a:srgbClr val="865BBC"/>
    </a:custClr>
    <a:custClr name="Credit Suisse Magenta">
      <a:srgbClr val="DA0C6F"/>
    </a:custClr>
    <a:custClr name="Credit Suisse Black">
      <a:srgbClr val="000000"/>
    </a:custClr>
    <a:custClr name="Credit Suisse Grey 3">
      <a:srgbClr val="DADADA"/>
    </a:custClr>
    <a:custClr name="White">
      <a:srgbClr val="FFFFFF"/>
    </a:custClr>
    <a:custClr name="White">
      <a:srgbClr val="FFFFFF"/>
    </a:custClr>
    <a:custClr name="RAG Green">
      <a:srgbClr val="008000"/>
    </a:custClr>
    <a:custClr name="Credit Suisse Dark Blue">
      <a:srgbClr val="003868"/>
    </a:custClr>
    <a:custClr name="Credit Suisse Dark Turquoise">
      <a:srgbClr val="005B66"/>
    </a:custClr>
    <a:custClr name="Credit Suisse Dark Green">
      <a:srgbClr val="00562A"/>
    </a:custClr>
    <a:custClr name="Credit Suisse Dark Purple">
      <a:srgbClr val="4C227C"/>
    </a:custClr>
    <a:custClr name="Credit Suisse Dark Magenta">
      <a:srgbClr val="7A004C"/>
    </a:custClr>
    <a:custClr name="Credit Suisse Grey 6">
      <a:srgbClr val="575756"/>
    </a:custClr>
    <a:custClr name="Credit Suisse Grey 2">
      <a:srgbClr val="E6E7E8"/>
    </a:custClr>
    <a:custClr name="White">
      <a:srgbClr val="FFFFFF"/>
    </a:custClr>
    <a:custClr name="White">
      <a:srgbClr val="FFFFFF"/>
    </a:custClr>
    <a:custClr name="RAG Red">
      <a:srgbClr val="D91E18"/>
    </a:custClr>
    <a:custClr name="Credit Suisse Mid Blue">
      <a:srgbClr val="004C97"/>
    </a:custClr>
    <a:custClr name="Credit Suisse Mid Turquoise">
      <a:srgbClr val="007D84"/>
    </a:custClr>
    <a:custClr name="Credit Suisse Mid Green">
      <a:srgbClr val="1F7C34"/>
    </a:custClr>
    <a:custClr name="Credit Suisse Mid Purple">
      <a:srgbClr val="633F9A"/>
    </a:custClr>
    <a:custClr name="Credit Suisse Mid Magenta">
      <a:srgbClr val="B4006E"/>
    </a:custClr>
    <a:custClr name="Credit Suisse Grey 5">
      <a:srgbClr val="7C7C7B"/>
    </a:custClr>
    <a:custClr name="Credit Suisse Grey 1">
      <a:srgbClr val="F1F2F2"/>
    </a:custClr>
    <a:custClr name="White">
      <a:srgbClr val="FFFFFF"/>
    </a:custClr>
    <a:custClr name="White">
      <a:srgbClr val="FFFFFF"/>
    </a:custClr>
    <a:custClr name="RAG Amber">
      <a:srgbClr val="FFB81C"/>
    </a:custClr>
    <a:custClr name="Credit Suisse Light Blue">
      <a:srgbClr val="ADC8E9"/>
    </a:custClr>
    <a:custClr name="Credit Suisse Light Turquoise">
      <a:srgbClr val="BFE5E2"/>
    </a:custClr>
    <a:custClr name="Credit Suisse Light Green">
      <a:srgbClr val="D5E9C1"/>
    </a:custClr>
    <a:custClr name="Credit Suisse Light Purple">
      <a:srgbClr val="D1C4E0"/>
    </a:custClr>
    <a:custClr name="Credit Suisse Light Magenta">
      <a:srgbClr val="F9C0CC"/>
    </a:custClr>
    <a:custClr name="Credit Suisse Grey 4">
      <a:srgbClr val="A8A8A7"/>
    </a:custClr>
    <a:custClr name="Credit Suisse 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8a3b140-d0b5-47be-876b-0d50e1a89c6e">
      <UserInfo>
        <DisplayName>Murtaza Abdeali</DisplayName>
        <AccountId>48</AccountId>
        <AccountType/>
      </UserInfo>
      <UserInfo>
        <DisplayName>Yetish Narayana</DisplayName>
        <AccountId>7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8C2C84AC204459043B1F45D7E99FA" ma:contentTypeVersion="11" ma:contentTypeDescription="Create a new document." ma:contentTypeScope="" ma:versionID="8f1f3b581f38ea56b22e8e1fa5a610b8">
  <xsd:schema xmlns:xsd="http://www.w3.org/2001/XMLSchema" xmlns:xs="http://www.w3.org/2001/XMLSchema" xmlns:p="http://schemas.microsoft.com/office/2006/metadata/properties" xmlns:ns2="c051eb96-701a-44de-bc5a-4c76917dc604" xmlns:ns3="28a3b140-d0b5-47be-876b-0d50e1a89c6e" targetNamespace="http://schemas.microsoft.com/office/2006/metadata/properties" ma:root="true" ma:fieldsID="a60c7b31e347c4da39da35263cd766db" ns2:_="" ns3:_="">
    <xsd:import namespace="c051eb96-701a-44de-bc5a-4c76917dc604"/>
    <xsd:import namespace="28a3b140-d0b5-47be-876b-0d50e1a89c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51eb96-701a-44de-bc5a-4c76917dc6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a3b140-d0b5-47be-876b-0d50e1a89c6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CDCEA8-2A09-4F7F-AAA9-B9582B25B819}">
  <ds:schemaRefs>
    <ds:schemaRef ds:uri="http://www.w3.org/XML/1998/namespace"/>
    <ds:schemaRef ds:uri="http://purl.org/dc/elements/1.1/"/>
    <ds:schemaRef ds:uri="c051eb96-701a-44de-bc5a-4c76917dc604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28a3b140-d0b5-47be-876b-0d50e1a89c6e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E791094-C702-4102-A0E6-E3175A3931A1}">
  <ds:schemaRefs>
    <ds:schemaRef ds:uri="28a3b140-d0b5-47be-876b-0d50e1a89c6e"/>
    <ds:schemaRef ds:uri="c051eb96-701a-44de-bc5a-4c76917dc60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B2A6761-9E5C-49BC-A556-B4531F28CC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218</TotalTime>
  <Words>733</Words>
  <Application>Microsoft Macintosh PowerPoint</Application>
  <PresentationFormat>Widescreen</PresentationFormat>
  <Paragraphs>173</Paragraphs>
  <Slides>20</Slides>
  <Notes>2</Notes>
  <HiddenSlides>0</HiddenSlides>
  <MMClips>2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</vt:lpstr>
      <vt:lpstr>Calibri</vt:lpstr>
      <vt:lpstr>Credit Suisse Headline</vt:lpstr>
      <vt:lpstr>Credit Suisse Type Light</vt:lpstr>
      <vt:lpstr>Helvetica Neue</vt:lpstr>
      <vt:lpstr>Roboto Medium</vt:lpstr>
      <vt:lpstr>Wingdings</vt:lpstr>
      <vt:lpstr>Template_cs_en</vt:lpstr>
      <vt:lpstr>think-cell Slide</vt:lpstr>
      <vt:lpstr>Observability: Visualize, Analyze, Troubleshoot</vt:lpstr>
      <vt:lpstr>Agenda</vt:lpstr>
      <vt:lpstr>The Challenge of Distributed Architectures</vt:lpstr>
      <vt:lpstr>Hybrid, Multi-Cloud Strategy</vt:lpstr>
      <vt:lpstr>Nomenclature Standardization</vt:lpstr>
      <vt:lpstr>Metrics as Code</vt:lpstr>
      <vt:lpstr>Everything is a Terraform Module</vt:lpstr>
      <vt:lpstr>Extending Terraform with Configuration </vt:lpstr>
      <vt:lpstr>Honest Metrics</vt:lpstr>
      <vt:lpstr>Day to Day</vt:lpstr>
      <vt:lpstr>Incident Management</vt:lpstr>
      <vt:lpstr>Service Visualization</vt:lpstr>
      <vt:lpstr>Application Performance Monitoring (APM)</vt:lpstr>
      <vt:lpstr>Logging</vt:lpstr>
      <vt:lpstr>Infrastructure Monitoring</vt:lpstr>
      <vt:lpstr>Synthetic Monitoring </vt:lpstr>
      <vt:lpstr>Real User Monitoring</vt:lpstr>
      <vt:lpstr>Security Monitoring </vt:lpstr>
      <vt:lpstr>Cloud Security Posture Management (CSPM) &amp; Compliance</vt:lpstr>
      <vt:lpstr>Methodology of Selec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'Shea, Casey (VIDB 125) CWR</dc:creator>
  <cp:lastModifiedBy>Casey O'Shea</cp:lastModifiedBy>
  <cp:revision>12</cp:revision>
  <cp:lastPrinted>2020-01-06T12:35:29Z</cp:lastPrinted>
  <dcterms:modified xsi:type="dcterms:W3CDTF">2021-07-16T14:1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SIProp12DataClass+304a34c9-5b17-4e2a-bdc3-dec6a43f35e7">
    <vt:lpwstr>v=1.2&gt;I=304a34c9-5b17-4e2a-bdc3-dec6a43f35e7&amp;N=Unrestricted&amp;V=1.3&amp;U=S-1-5-21-3718294971-3193642644-4012788348-29935&amp;D=Kammer%2c+Sebastian+(WJPM+7)&amp;A=Associated&amp;H=False</vt:lpwstr>
  </property>
  <property fmtid="{D5CDD505-2E9C-101B-9397-08002B2CF9AE}" pid="3" name="Classification">
    <vt:lpwstr>Unrestricted</vt:lpwstr>
  </property>
  <property fmtid="{D5CDD505-2E9C-101B-9397-08002B2CF9AE}" pid="4" name="ContentTypeId">
    <vt:lpwstr>0x0101007748C2C84AC204459043B1F45D7E99FA</vt:lpwstr>
  </property>
</Properties>
</file>